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145709030" r:id="rId5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EEE987-60BE-49FA-8157-9C8ACDD2EF63}" v="89" dt="2022-09-07T12:05:45.15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93" d="100"/>
          <a:sy n="93" d="100"/>
        </p:scale>
        <p:origin x="11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8C6960-3FCF-4B5A-B42D-EB0143956BAF}" type="datetimeFigureOut">
              <a:rPr lang="de-DE" smtClean="0"/>
              <a:t>07.09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94BC64-327F-4383-B347-43BD5E7DFA8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4923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94BC64-327F-4383-B347-43BD5E7DFA8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5563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2448972"/>
            <a:ext cx="11240873" cy="1916132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A49C202-A02A-4B01-B936-D0FA74FB8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9771" y="511987"/>
            <a:ext cx="1220486" cy="854506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8611"/>
            <a:ext cx="11240873" cy="380709"/>
          </a:xfrm>
        </p:spPr>
        <p:txBody>
          <a:bodyPr/>
          <a:lstStyle>
            <a:lvl1pPr marL="0" indent="0">
              <a:buNone/>
              <a:defRPr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641CDB0-F5DA-43C4-B201-EFBFB9609BD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200" y="1814400"/>
            <a:ext cx="3398400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1644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Weiß zentrie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639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6" y="3609020"/>
            <a:ext cx="11449050" cy="756084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6" y="4392005"/>
            <a:ext cx="11449050" cy="683654"/>
          </a:xfrm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5920896"/>
            <a:ext cx="11449051" cy="38070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5799" y="513294"/>
            <a:ext cx="1220400" cy="8532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E3303D2-65D0-4DF7-9B90-7488DF8A54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4730" y="1850496"/>
            <a:ext cx="332254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758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tx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278C346-43C5-4148-9236-F5A3A56A68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5027" y="357101"/>
            <a:ext cx="568198" cy="406082"/>
          </a:xfrm>
          <a:prstGeom prst="rect">
            <a:avLst/>
          </a:prstGeom>
        </p:spPr>
      </p:pic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25FECD13-1BEA-4C26-8970-3CAFE134FB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8337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278C346-43C5-4148-9236-F5A3A56A68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5027" y="357101"/>
            <a:ext cx="568198" cy="406082"/>
          </a:xfrm>
          <a:prstGeom prst="rect">
            <a:avLst/>
          </a:prstGeom>
        </p:spPr>
      </p:pic>
      <p:sp>
        <p:nvSpPr>
          <p:cNvPr id="16" name="Freeform 5">
            <a:extLst>
              <a:ext uri="{FF2B5EF4-FFF2-40B4-BE49-F238E27FC236}">
                <a16:creationId xmlns:a16="http://schemas.microsoft.com/office/drawing/2014/main" id="{652B2642-5C15-4995-AB93-CA337E09B1DB}"/>
              </a:ext>
            </a:extLst>
          </p:cNvPr>
          <p:cNvSpPr>
            <a:spLocks/>
          </p:cNvSpPr>
          <p:nvPr userDrawn="1"/>
        </p:nvSpPr>
        <p:spPr bwMode="auto">
          <a:xfrm>
            <a:off x="11293475" y="6469871"/>
            <a:ext cx="542925" cy="55563"/>
          </a:xfrm>
          <a:custGeom>
            <a:avLst/>
            <a:gdLst>
              <a:gd name="T0" fmla="*/ 3590 w 3779"/>
              <a:gd name="T1" fmla="*/ 377 h 377"/>
              <a:gd name="T2" fmla="*/ 3590 w 3779"/>
              <a:gd name="T3" fmla="*/ 377 h 377"/>
              <a:gd name="T4" fmla="*/ 188 w 3779"/>
              <a:gd name="T5" fmla="*/ 377 h 377"/>
              <a:gd name="T6" fmla="*/ 0 w 3779"/>
              <a:gd name="T7" fmla="*/ 188 h 377"/>
              <a:gd name="T8" fmla="*/ 188 w 3779"/>
              <a:gd name="T9" fmla="*/ 0 h 377"/>
              <a:gd name="T10" fmla="*/ 3590 w 3779"/>
              <a:gd name="T11" fmla="*/ 0 h 377"/>
              <a:gd name="T12" fmla="*/ 3779 w 3779"/>
              <a:gd name="T13" fmla="*/ 188 h 377"/>
              <a:gd name="T14" fmla="*/ 3590 w 3779"/>
              <a:gd name="T15" fmla="*/ 377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779" h="377">
                <a:moveTo>
                  <a:pt x="3590" y="377"/>
                </a:moveTo>
                <a:lnTo>
                  <a:pt x="3590" y="377"/>
                </a:lnTo>
                <a:lnTo>
                  <a:pt x="188" y="377"/>
                </a:lnTo>
                <a:cubicBezTo>
                  <a:pt x="79" y="377"/>
                  <a:pt x="0" y="293"/>
                  <a:pt x="0" y="188"/>
                </a:cubicBezTo>
                <a:cubicBezTo>
                  <a:pt x="0" y="82"/>
                  <a:pt x="79" y="0"/>
                  <a:pt x="188" y="0"/>
                </a:cubicBezTo>
                <a:lnTo>
                  <a:pt x="3590" y="0"/>
                </a:lnTo>
                <a:cubicBezTo>
                  <a:pt x="3700" y="0"/>
                  <a:pt x="3779" y="82"/>
                  <a:pt x="3779" y="188"/>
                </a:cubicBezTo>
                <a:cubicBezTo>
                  <a:pt x="3779" y="293"/>
                  <a:pt x="3700" y="377"/>
                  <a:pt x="3590" y="377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A7F34EC-6E63-4408-9EB3-97E913E2E3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580" y="1052349"/>
            <a:ext cx="1548645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5124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Bild, 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2BE1948-FCAB-44DC-8926-051C501145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212507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34D3CC7E-1D5E-477C-9141-519D3F0592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016B9C62-B5D9-401A-A2E6-E14930CF6A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8988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Bild, 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2BE1948-FCAB-44DC-8926-051C501145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AC0F8B-4A4D-455D-8D50-154C31AA3B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93E3042-2834-4DDC-A64E-0471DC6D18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916831"/>
            <a:ext cx="7920768" cy="4175993"/>
          </a:xfrm>
        </p:spPr>
        <p:txBody>
          <a:bodyPr/>
          <a:lstStyle>
            <a:lvl1pPr marL="895350" indent="-895350">
              <a:buClrTx/>
              <a:buFont typeface="+mj-lt"/>
              <a:buAutoNum type="arabicPeriod"/>
              <a:defRPr sz="3000">
                <a:solidFill>
                  <a:schemeClr val="bg1"/>
                </a:solidFill>
                <a:latin typeface="+mj-lt"/>
              </a:defRPr>
            </a:lvl1pPr>
            <a:lvl2pPr marL="1257300" indent="-355600"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latin typeface="+mj-lt"/>
              </a:defRPr>
            </a:lvl3pPr>
            <a:lvl4pPr>
              <a:defRPr sz="3000">
                <a:latin typeface="+mj-lt"/>
              </a:defRPr>
            </a:lvl4pPr>
            <a:lvl5pPr>
              <a:defRPr sz="3000"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34D3CC7E-1D5E-477C-9141-519D3F0592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pic>
        <p:nvPicPr>
          <p:cNvPr id="13" name="Grafik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436DFF51-DF93-408D-B9F6-4FB0581BA1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2420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4574D2F-0500-4A13-8529-ED82FC3897C9}"/>
              </a:ext>
            </a:extLst>
          </p:cNvPr>
          <p:cNvSpPr/>
          <p:nvPr userDrawn="1"/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D04D7DA7-C219-4F40-B367-A218B4F2B0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9368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(Bild, Logo Rot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EFF006-54B8-4823-B83A-1C9F7B6FA0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B9B65B1-AEA7-4F44-90D7-B91E0C3A1D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CDBE952-E573-4383-AFD9-185A772C6A6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580" y="1052349"/>
            <a:ext cx="1548645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9427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(Bild, 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F8EFF006-54B8-4823-B83A-1C9F7B6FA0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980728"/>
            <a:ext cx="11449050" cy="1836204"/>
          </a:xfrm>
        </p:spPr>
        <p:txBody>
          <a:bodyPr anchor="b"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5" y="3789041"/>
            <a:ext cx="5545137" cy="234029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4776" y="3068960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B27FFED9-1D10-457A-BB20-AF5C3651E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B9B65B1-AEA7-4F44-90D7-B91E0C3A1D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C7A7DB3-715A-49F8-8BF1-464AD5B94F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580" y="1052349"/>
            <a:ext cx="1548645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4027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5327F6B8-8C37-4AFF-BCBE-BF406B8334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6304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6CD97-5D9A-4DD7-8FA9-F028A03BBC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35940B9-9206-49A7-9C4C-F7D534506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pic>
        <p:nvPicPr>
          <p:cNvPr id="6" name="Grafik 5" descr="Ein Bild, das Text enthält.&#10;&#10;Automatisch generierte Beschreibung">
            <a:extLst>
              <a:ext uri="{FF2B5EF4-FFF2-40B4-BE49-F238E27FC236}">
                <a16:creationId xmlns:a16="http://schemas.microsoft.com/office/drawing/2014/main" id="{343B4459-7EC1-4B78-8AC7-D6B3477448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761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2442360"/>
            <a:ext cx="11240873" cy="1922743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AC45A34D-75DC-4BA7-88F8-5CBA85EE7F5A}"/>
              </a:ext>
            </a:extLst>
          </p:cNvPr>
          <p:cNvSpPr/>
          <p:nvPr userDrawn="1"/>
        </p:nvSpPr>
        <p:spPr>
          <a:xfrm>
            <a:off x="579652" y="546761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DD18AD4-F767-4B83-B6E4-2F6A0882C6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1703" y="475902"/>
            <a:ext cx="1296622" cy="92667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9039ADA-C4DB-453F-9F9C-2886F88629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199" y="1850496"/>
            <a:ext cx="332254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2191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(Grau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62DF8B11-0F3A-4ACA-9AED-516A8CF64F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888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027" y="6538648"/>
            <a:ext cx="520498" cy="216024"/>
          </a:xfrm>
        </p:spPr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3CB751F-9E6E-4899-A573-910F22F0D83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1475" y="1449388"/>
            <a:ext cx="11449049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1F460ED5-A164-4933-B4D7-FF42AF8B96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644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8887A16-E540-417F-AEC5-F4B0FFDF4A7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1475" y="1449388"/>
            <a:ext cx="5545138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8">
            <a:extLst>
              <a:ext uri="{FF2B5EF4-FFF2-40B4-BE49-F238E27FC236}">
                <a16:creationId xmlns:a16="http://schemas.microsoft.com/office/drawing/2014/main" id="{73A4453B-BB6A-434B-9D58-17979C3C6A7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75387" y="1449388"/>
            <a:ext cx="5545138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B8ABA743-3216-49D4-9ED0-EE96932F91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6939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E8E2C43-FDD0-456E-A273-CCBA60D849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1449388"/>
            <a:ext cx="5923409" cy="5408612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5B13E-F925-44FA-A8D7-2CB14BB0A1B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75388" y="1449388"/>
            <a:ext cx="5545137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15F35D9-9CB3-4253-A00B-D9B30B4866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2495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E8E2C43-FDD0-456E-A273-CCBA60D849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5388" y="1449388"/>
            <a:ext cx="5916612" cy="5408612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E5B13E-F925-44FA-A8D7-2CB14BB0A1B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78272" y="1449388"/>
            <a:ext cx="5545137" cy="46799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E205B2A-24B4-4B2B-B293-149CBCB8D49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12" name="Grafik 11" descr="Ein Bild, das Text enthält.&#10;&#10;Automatisch generierte Beschreibung">
            <a:extLst>
              <a:ext uri="{FF2B5EF4-FFF2-40B4-BE49-F238E27FC236}">
                <a16:creationId xmlns:a16="http://schemas.microsoft.com/office/drawing/2014/main" id="{CF9D3F12-8080-48F6-86B6-F22DF1B250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611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Titel (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C11FEC-D812-4EB3-9A64-42F1696D70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2ACBF4-EBE4-4F98-8E18-5619C05FB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9AB020F8-2192-4903-AC00-2F66527246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2B342867-16FF-4DF9-B736-0969D6F3E1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7917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Titel (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3C11FEC-D812-4EB3-9A64-42F1696D70D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52ACBF4-EBE4-4F98-8E18-5619C05FB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AC61249-16F6-4DD1-881A-CB7D8374519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580" y="1052349"/>
            <a:ext cx="1548645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5103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 (DB Logo Rot, Schrift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/>
              <a:t>Zit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8648"/>
            <a:ext cx="10602000" cy="2160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20902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301B7DA8-C3D2-487D-91C3-AAB663A2F1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4736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itat (DB Logo Rot, Schrift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/>
              <a:t>Zit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8648"/>
            <a:ext cx="10602000" cy="2160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20902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AC7C03F2-84A4-4530-987C-5D0DEEEBA7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00F75462-6E73-4B4D-9E5D-B29E6BC457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515" y="1051876"/>
            <a:ext cx="158401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1222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 (DB Logo Rot, b.b. 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8648"/>
            <a:ext cx="10602000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20902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F47B50F-CAB5-4770-8ACB-18FC28D476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580" y="1052349"/>
            <a:ext cx="1548645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3291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(Bild, DB Logo Rot, Schrift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1220400" cy="8532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8BEC5EC-8286-4246-B304-B642F3AF79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200" y="1814400"/>
            <a:ext cx="3398400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1461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itat (DB Logo Weiß, Schrift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Zit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8648"/>
            <a:ext cx="10602000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35486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607C50B-F57F-4EC9-9A04-CC8482091A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580" y="1052349"/>
            <a:ext cx="1548645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5563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(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AC86CDA9-CAC2-4DFA-A2F3-7F34FD315D0A}"/>
              </a:ext>
            </a:extLst>
          </p:cNvPr>
          <p:cNvSpPr txBox="1">
            <a:spLocks/>
          </p:cNvSpPr>
          <p:nvPr userDrawn="1"/>
        </p:nvSpPr>
        <p:spPr>
          <a:xfrm>
            <a:off x="344466" y="4037815"/>
            <a:ext cx="11861894" cy="15643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8BE14"/>
              </a:buClr>
              <a:buFont typeface="DB Sans" panose="020B0502050202020204" pitchFamily="34" charset="0"/>
              <a:buNone/>
              <a:defRPr sz="54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8BE14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8BE14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8BE14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8BE14"/>
              </a:buClr>
              <a:buFont typeface="DB Sans" panose="020B050205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BE14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kumimoji="0" lang="de-DE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B Head Black" panose="020B0A02050202020204" pitchFamily="34" charset="0"/>
                <a:ea typeface="+mn-ea"/>
                <a:cs typeface="+mn-cs"/>
              </a:rPr>
              <a:t>Statement erste Zeile –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8BE14"/>
              </a:buClr>
              <a:buSzTx/>
              <a:buFont typeface="DB Sans" panose="020B0502050202020204" pitchFamily="34" charset="0"/>
              <a:buNone/>
              <a:tabLst/>
              <a:defRPr/>
            </a:pPr>
            <a:r>
              <a:rPr kumimoji="0" lang="de-DE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B Head Light" panose="020B0302050202020204" pitchFamily="34" charset="0"/>
                <a:ea typeface="+mn-ea"/>
                <a:cs typeface="+mn-cs"/>
              </a:rPr>
              <a:t>Zweite Zeile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29D23199-76B3-4E3B-A68D-B7F401D7B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40951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16B5242-7777-497A-A930-FE7630D11F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580" y="1052349"/>
            <a:ext cx="1548645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1683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Logo Rot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027" y="6538648"/>
            <a:ext cx="520498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3A1144C-097B-48B5-A5B0-A4ECB476B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2096852"/>
            <a:ext cx="11521677" cy="1231349"/>
          </a:xfrm>
        </p:spPr>
        <p:txBody>
          <a:bodyPr/>
          <a:lstStyle>
            <a:lvl1pPr marL="0" indent="0">
              <a:buNone/>
              <a:defRPr sz="8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Statement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29D23199-76B3-4E3B-A68D-B7F401D7B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B07C7B3-6235-4127-852A-39AACFC81C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580" y="1052349"/>
            <a:ext cx="1548645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0115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(Logo Weiß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E63F0EF0-6751-42DD-8EAD-C8E847AA5F4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B07DB40-DBD6-4EA1-8E67-8EA03178A6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23A1144C-097B-48B5-A5B0-A4ECB476B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963" y="2096852"/>
            <a:ext cx="11521677" cy="1231349"/>
          </a:xfrm>
        </p:spPr>
        <p:txBody>
          <a:bodyPr/>
          <a:lstStyle>
            <a:lvl1pPr marL="0" indent="0">
              <a:buNone/>
              <a:defRPr sz="8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Statement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29D23199-76B3-4E3B-A68D-B7F401D7B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135E20F6-63B7-4A6D-8C10-8179D7890D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580" y="1052349"/>
            <a:ext cx="1548645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8460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8648"/>
            <a:ext cx="10602000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20902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EEA5820-3EA2-49DD-8F22-33546DB041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580" y="1052349"/>
            <a:ext cx="1548645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3151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(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edienplatzhalter 4">
            <a:extLst>
              <a:ext uri="{FF2B5EF4-FFF2-40B4-BE49-F238E27FC236}">
                <a16:creationId xmlns:a16="http://schemas.microsoft.com/office/drawing/2014/main" id="{3348C025-EC14-4E25-AA69-4FBB23BF31B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0E10FB-DB28-4159-ABFD-2E84010A9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858000"/>
          </a:xfrm>
          <a:solidFill>
            <a:schemeClr val="tx1">
              <a:alpha val="30000"/>
            </a:schemeClr>
          </a:solidFill>
        </p:spPr>
        <p:txBody>
          <a:bodyPr lIns="324000" tIns="324000" rIns="324000" bIns="2412000"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538E46-C847-44FA-A5BC-C63FF58B5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475" y="6538648"/>
            <a:ext cx="10602000" cy="216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C4D224-C30D-405E-A5EE-0DB17C1D8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19DF05F-72AD-4B24-A27F-0951699523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5208436"/>
            <a:ext cx="11449050" cy="935486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B825A7-CC36-4592-BA09-A6FA6C29D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313" y="4905164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E1612367-6D73-48B9-86F0-04DA0715BB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80525" y="368660"/>
            <a:ext cx="540000" cy="37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194BC55-09EF-445C-8A33-D6618654D6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580" y="1052349"/>
            <a:ext cx="1548645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0177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Bild)">
    <p:bg>
      <p:bgPr>
        <a:solidFill>
          <a:schemeClr val="tx1">
            <a:alpha val="8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0">
            <a:extLst>
              <a:ext uri="{FF2B5EF4-FFF2-40B4-BE49-F238E27FC236}">
                <a16:creationId xmlns:a16="http://schemas.microsoft.com/office/drawing/2014/main" id="{88E6BB85-2CD9-4C46-9692-3B22C74A130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noFill/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436127"/>
            <a:ext cx="11449050" cy="3693211"/>
          </a:xfrm>
        </p:spPr>
        <p:txBody>
          <a:bodyPr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246200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e (Rot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2436127"/>
            <a:ext cx="11449050" cy="3693211"/>
          </a:xfrm>
        </p:spPr>
        <p:txBody>
          <a:bodyPr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565030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 (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enplatzhalter 4">
            <a:extLst>
              <a:ext uri="{FF2B5EF4-FFF2-40B4-BE49-F238E27FC236}">
                <a16:creationId xmlns:a16="http://schemas.microsoft.com/office/drawing/2014/main" id="{F620A319-D564-4D18-92D7-8995EC1B261E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11586949-1E99-4A43-99E8-BFF2DE8AE5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05800" y="1620783"/>
            <a:ext cx="5180400" cy="3625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262732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B94DD2-B5F5-4C54-B070-51A7824E1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45B80E-FA5E-4414-8A23-82CAB8E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1E907B-F3FD-4F7E-979E-473985CA8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D9F7D-0C28-4C21-AA99-7C67E34F632A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85178BEA-57EF-4667-9B6F-D9C0DB1E92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287836" y="6475761"/>
            <a:ext cx="532800" cy="5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E332BCA8-C5FE-45D9-AF42-D1A4E21D27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3551" y="934460"/>
            <a:ext cx="996974" cy="124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6876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(Bild, DB Logo Weiß, Schrift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C5E04D1-62AC-496C-A591-B29E0BB528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1220400" cy="8532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53671F5-6FFA-4155-BB9C-0801933889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200" y="1814400"/>
            <a:ext cx="3398400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4231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CCDFFA-A6B3-43C8-99A5-F4F5EC225F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47FD8CB-C42F-4A40-B66A-6C0ACC9EE5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139AD10-2FE7-42AE-B465-C61A9480B3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D6DE7E2-6A2F-4829-9FC4-251115D459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C1CA3E-1DB3-4149-A12F-AE236CDD0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5545F-00F7-4273-B729-1CE71F0413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36457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Ro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1220400" cy="8532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5D94568-5A87-425D-B687-F56A04ACD8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199" y="1850496"/>
            <a:ext cx="332254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0611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652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9652" y="3609020"/>
            <a:ext cx="11240873" cy="756084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79652" y="4392005"/>
            <a:ext cx="11240873" cy="683654"/>
          </a:xfrm>
        </p:spPr>
        <p:txBody>
          <a:bodyPr/>
          <a:lstStyle>
            <a:lvl1pPr marL="0" indent="0" algn="l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652" y="5922000"/>
            <a:ext cx="11240873" cy="3807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9652" y="513294"/>
            <a:ext cx="1220400" cy="8532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928B153-4203-4098-A205-12EC24A265E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199" y="1850496"/>
            <a:ext cx="332254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5973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(Bild, DB Logo Rot zentriert, Schrift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639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6" y="3609020"/>
            <a:ext cx="11449050" cy="756084"/>
          </a:xfrm>
        </p:spPr>
        <p:txBody>
          <a:bodyPr anchor="b"/>
          <a:lstStyle>
            <a:lvl1pPr algn="ctr"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6" y="4392005"/>
            <a:ext cx="11449050" cy="683654"/>
          </a:xfrm>
        </p:spPr>
        <p:txBody>
          <a:bodyPr/>
          <a:lstStyle>
            <a:lvl1pPr marL="0" indent="0" algn="ctr">
              <a:buNone/>
              <a:defRPr sz="32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6" y="5920896"/>
            <a:ext cx="11449050" cy="38070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5799" y="522002"/>
            <a:ext cx="1220400" cy="8532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2A5B533-1983-43C0-961E-734386DEC6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6799" y="1825200"/>
            <a:ext cx="3398400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427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(Bild, DB Logo Weiß zentriert, Schrift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639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6" y="3609020"/>
            <a:ext cx="11449050" cy="756084"/>
          </a:xfrm>
        </p:spPr>
        <p:txBody>
          <a:bodyPr anchor="b"/>
          <a:lstStyle>
            <a:lvl1pPr algn="ctr"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6" y="4392005"/>
            <a:ext cx="11449050" cy="683654"/>
          </a:xfrm>
        </p:spPr>
        <p:txBody>
          <a:bodyPr/>
          <a:lstStyle>
            <a:lvl1pPr marL="0" indent="0" algn="ctr">
              <a:buNone/>
              <a:defRPr sz="3200">
                <a:solidFill>
                  <a:schemeClr val="tx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5920896"/>
            <a:ext cx="11449051" cy="38070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5799" y="513294"/>
            <a:ext cx="1220400" cy="8532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10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de-DE"/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CDC4DD0-9EF0-4F0A-B336-C065054A0F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6799" y="1825200"/>
            <a:ext cx="3398400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875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(Bild, Logo Rot zentrie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AA98A793-6334-4A93-A832-55E4A93AE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0"/>
            <a:ext cx="12192001" cy="685800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6F306AD-528B-44F2-97F6-C1072B0EEA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5639" y="5467612"/>
            <a:ext cx="1220724" cy="12162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271463" indent="0">
              <a:buNone/>
              <a:defRPr/>
            </a:lvl2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6A6EC-3E05-4D6A-90AC-32BADE329B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6" y="3609020"/>
            <a:ext cx="11449050" cy="756084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9B9821B-D7E4-454E-A8E2-C60C1507FD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6" y="4392005"/>
            <a:ext cx="11449050" cy="683654"/>
          </a:xfrm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DB Head Light" panose="020B030205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27B272F-0A02-4556-8035-1AFBA7037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6" y="5920896"/>
            <a:ext cx="11449050" cy="38070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DB Head Light" panose="020B0302050202020204" pitchFamily="34" charset="0"/>
              </a:defRPr>
            </a:lvl1pPr>
          </a:lstStyle>
          <a:p>
            <a:pPr lvl="0"/>
            <a:r>
              <a:rPr lang="de-DE"/>
              <a:t>Datum | Ort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D3148F9-2D63-42F8-AA94-9AA4BDDD3A4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5799" y="513294"/>
            <a:ext cx="1220400" cy="8532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833F276-6370-44C1-8716-8FBE985C5B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4730" y="1850496"/>
            <a:ext cx="3322542" cy="4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5822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47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F3E8D64-36DA-4F67-819B-F5273A9DAF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815802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44" imgW="521" imgH="520" progId="TCLayout.ActiveDocument.1">
                  <p:embed/>
                </p:oleObj>
              </mc:Choice>
              <mc:Fallback>
                <p:oleObj name="think-cell Folie" r:id="rId44" imgW="521" imgH="52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F3E8D64-36DA-4F67-819B-F5273A9DAF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27DB810-CDF5-41AC-8E51-9EBC8EC0B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10602893" cy="864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2AE7966-514A-4D81-97FD-6AD3A07C80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4" y="1449388"/>
            <a:ext cx="11449051" cy="467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C0766E-DEEA-4949-912D-67F535F0E6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5" y="6537600"/>
            <a:ext cx="10602902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DB Vertrieb GmbH | Vertrieb Geschäftskunden | P.DLP (5) | bahn.business Fahrtzeitenspinnen Sommer 2022 | 25.07.2022 | Version 1.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74309D-71AA-45D4-974A-6D58CB1760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0027" y="6538648"/>
            <a:ext cx="520498" cy="216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913D9F7D-0C28-4C21-AA99-7C67E34F632A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F629909-3F3B-B946-91EF-D49519C4F1F0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80903" y="368660"/>
            <a:ext cx="539622" cy="377809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DE7FD38-4C24-1C44-B92F-B053B9DC1D6B}"/>
              </a:ext>
            </a:extLst>
          </p:cNvPr>
          <p:cNvPicPr>
            <a:picLocks noChangeAspect="1"/>
          </p:cNvPicPr>
          <p:nvPr userDrawn="1"/>
        </p:nvPicPr>
        <p:blipFill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93200" y="6472800"/>
            <a:ext cx="540000" cy="5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81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buClr>
          <a:srgbClr val="00A099"/>
        </a:buClr>
        <a:buFont typeface="DB Sans" panose="020B0502050202020204" pitchFamily="34" charset="0"/>
        <a:buChar char="‒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914400" rtl="0" eaLnBrk="1" latinLnBrk="0" hangingPunct="1">
        <a:lnSpc>
          <a:spcPct val="100000"/>
        </a:lnSpc>
        <a:spcBef>
          <a:spcPts val="0"/>
        </a:spcBef>
        <a:buClr>
          <a:srgbClr val="00A099"/>
        </a:buClr>
        <a:buFont typeface="DB Sans" panose="020B0502050202020204" pitchFamily="34" charset="0"/>
        <a:buChar char="‒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100000"/>
        </a:lnSpc>
        <a:spcBef>
          <a:spcPts val="0"/>
        </a:spcBef>
        <a:buClr>
          <a:srgbClr val="00A099"/>
        </a:buClr>
        <a:buFont typeface="DB Sans" panose="020B0502050202020204" pitchFamily="34" charset="0"/>
        <a:buChar char="‒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914400" rtl="0" eaLnBrk="1" latinLnBrk="0" hangingPunct="1">
        <a:lnSpc>
          <a:spcPct val="100000"/>
        </a:lnSpc>
        <a:spcBef>
          <a:spcPts val="0"/>
        </a:spcBef>
        <a:buClr>
          <a:srgbClr val="00A099"/>
        </a:buClr>
        <a:buFont typeface="DB Sans" panose="020B0502050202020204" pitchFamily="34" charset="0"/>
        <a:buChar char="‒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00000"/>
        </a:lnSpc>
        <a:spcBef>
          <a:spcPts val="0"/>
        </a:spcBef>
        <a:buClr>
          <a:srgbClr val="00A099"/>
        </a:buClr>
        <a:buFont typeface="DB Sans" panose="020B0502050202020204" pitchFamily="34" charset="0"/>
        <a:buChar char="‒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3" pos="7447">
          <p15:clr>
            <a:srgbClr val="F26B43"/>
          </p15:clr>
        </p15:guide>
        <p15:guide id="7" pos="3727">
          <p15:clr>
            <a:srgbClr val="F26B43"/>
          </p15:clr>
        </p15:guide>
        <p15:guide id="8" pos="3953">
          <p15:clr>
            <a:srgbClr val="F26B43"/>
          </p15:clr>
        </p15:guide>
        <p15:guide id="9" orient="horz" pos="913">
          <p15:clr>
            <a:srgbClr val="F26B43"/>
          </p15:clr>
        </p15:guide>
        <p15:guide id="10" orient="horz" pos="3861">
          <p15:clr>
            <a:srgbClr val="F26B43"/>
          </p15:clr>
        </p15:guide>
        <p15:guide id="11" pos="2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image" Target="../media/image11.emf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oleObject" Target="../embeddings/oleObject2.bin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hyperlink" Target="http://www.skyscanner.de/" TargetMode="Externa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notesSlide" Target="../notesSlides/notesSlide1.xml"/><Relationship Id="rId40" Type="http://schemas.openxmlformats.org/officeDocument/2006/relationships/hyperlink" Target="http://www.bahn.de/" TargetMode="Externa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slideLayout" Target="../slideLayouts/slideLayout18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Objekt 78" hidden="1">
            <a:extLst>
              <a:ext uri="{FF2B5EF4-FFF2-40B4-BE49-F238E27FC236}">
                <a16:creationId xmlns:a16="http://schemas.microsoft.com/office/drawing/2014/main" id="{59B24F5C-042C-4BFD-9C99-5DBD4E78FA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5238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38" imgW="360" imgH="360" progId="TCLayout.ActiveDocument.1">
                  <p:embed/>
                </p:oleObj>
              </mc:Choice>
              <mc:Fallback>
                <p:oleObj name="think-cell Folie" r:id="rId38" imgW="360" imgH="360" progId="TCLayout.ActiveDocument.1">
                  <p:embed/>
                  <p:pic>
                    <p:nvPicPr>
                      <p:cNvPr id="79" name="Objekt 78" hidden="1">
                        <a:extLst>
                          <a:ext uri="{FF2B5EF4-FFF2-40B4-BE49-F238E27FC236}">
                            <a16:creationId xmlns:a16="http://schemas.microsoft.com/office/drawing/2014/main" id="{59B24F5C-042C-4BFD-9C99-5DBD4E78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17B734-B7D3-4DDF-9620-F7195A916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696"/>
            <a:ext cx="11007155" cy="864052"/>
          </a:xfrm>
        </p:spPr>
        <p:txBody>
          <a:bodyPr vert="horz"/>
          <a:lstStyle/>
          <a:p>
            <a:r>
              <a:rPr lang="en-gb" b="0" i="0" u="none" baseline="0" dirty="0"/>
              <a:t>Business travel by train</a:t>
            </a:r>
            <a:br>
              <a:rPr lang="de-DE" dirty="0"/>
            </a:br>
            <a:r>
              <a:rPr lang="en-gb" b="0" i="0" u="none" baseline="0" dirty="0">
                <a:latin typeface="DB Head Light"/>
                <a:ea typeface="DB Head Light"/>
                <a:cs typeface="DB Head Light"/>
                <a:sym typeface="DB Head Light"/>
              </a:rPr>
              <a:t>Turn your travel time into productive time with an unbeatably low carbon footprint.</a:t>
            </a:r>
            <a:endParaRPr lang="de-DE" dirty="0">
              <a:latin typeface="DB Head Light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705F7E3-AA47-465E-AEF7-7A9D070137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DB Vertrieb GmbH | Vertrieb Geschäftskunden | P.DLP 11 | bahn.business Fahrtzeitenspinnen 2022 | 02.09.2022 | Version 1.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E655C9-D377-4FFB-8407-6E0E1395F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D9F7D-0C28-4C21-AA99-7C67E34F632A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+mn-cs"/>
            </a:endParaRPr>
          </a:p>
        </p:txBody>
      </p:sp>
      <p:sp>
        <p:nvSpPr>
          <p:cNvPr id="85" name="masterSource">
            <a:extLst>
              <a:ext uri="{FF2B5EF4-FFF2-40B4-BE49-F238E27FC236}">
                <a16:creationId xmlns:a16="http://schemas.microsoft.com/office/drawing/2014/main" id="{35EA97C4-AB09-4AB5-9B89-031D2340FB98}"/>
              </a:ext>
            </a:extLst>
          </p:cNvPr>
          <p:cNvSpPr txBox="1"/>
          <p:nvPr/>
        </p:nvSpPr>
        <p:spPr>
          <a:xfrm>
            <a:off x="373634" y="6238462"/>
            <a:ext cx="2034656" cy="21602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defPPr>
              <a:defRPr lang="de-DE"/>
            </a:defPPr>
            <a:lvl1pPr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/>
                <a:ea typeface="+mn-ea"/>
                <a:cs typeface="+mn-cs"/>
              </a:rPr>
              <a:t>©DB Vertrieb GmbH, Stand September 2022</a:t>
            </a:r>
          </a:p>
        </p:txBody>
      </p:sp>
      <p:sp>
        <p:nvSpPr>
          <p:cNvPr id="81" name="Titel 1">
            <a:extLst>
              <a:ext uri="{FF2B5EF4-FFF2-40B4-BE49-F238E27FC236}">
                <a16:creationId xmlns:a16="http://schemas.microsoft.com/office/drawing/2014/main" id="{39548CCD-1DD3-4D89-9534-B820737E2535}"/>
              </a:ext>
            </a:extLst>
          </p:cNvPr>
          <p:cNvSpPr txBox="1">
            <a:spLocks/>
          </p:cNvSpPr>
          <p:nvPr/>
        </p:nvSpPr>
        <p:spPr>
          <a:xfrm>
            <a:off x="371473" y="-1188404"/>
            <a:ext cx="10602893" cy="864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EC0016"/>
                </a:solidFill>
                <a:effectLst/>
                <a:uLnTx/>
                <a:uFillTx/>
                <a:latin typeface="DB Head Black"/>
                <a:ea typeface="+mj-ea"/>
                <a:cs typeface="+mj-cs"/>
              </a:rPr>
              <a:t>Fliegen oder bahn fahren?</a:t>
            </a:r>
            <a:b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EC0016"/>
                </a:solidFill>
                <a:effectLst/>
                <a:uLnTx/>
                <a:uFillTx/>
                <a:latin typeface="DB Head Black"/>
                <a:ea typeface="+mj-ea"/>
                <a:cs typeface="+mj-cs"/>
              </a:rPr>
            </a:b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EC0016"/>
                </a:solidFill>
                <a:effectLst/>
                <a:uLnTx/>
                <a:uFillTx/>
                <a:latin typeface="DB Head Light" panose="020B0302050202020204" pitchFamily="34" charset="0"/>
                <a:ea typeface="+mj-ea"/>
                <a:cs typeface="+mj-cs"/>
              </a:rPr>
              <a:t>Mit der Bahn reisen Sie nachhaltig und entspannt an Ihr Ziel.</a:t>
            </a: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srgbClr val="EC0016"/>
              </a:solidFill>
              <a:effectLst/>
              <a:uLnTx/>
              <a:uFillTx/>
              <a:latin typeface="DB Head Light"/>
              <a:ea typeface="+mj-ea"/>
              <a:cs typeface="+mj-cs"/>
            </a:endParaRP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2DAD9CAF-3D87-4219-8327-3B82966B2EDE}"/>
              </a:ext>
            </a:extLst>
          </p:cNvPr>
          <p:cNvSpPr txBox="1"/>
          <p:nvPr/>
        </p:nvSpPr>
        <p:spPr>
          <a:xfrm>
            <a:off x="4209517" y="4587826"/>
            <a:ext cx="7239230" cy="1882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spcBef>
                <a:spcPts val="200"/>
              </a:spcBef>
            </a:pPr>
            <a:r>
              <a:rPr lang="en-gb" sz="900" b="1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Travel time on trains: </a:t>
            </a:r>
            <a:r>
              <a:rPr lang="en-gb" sz="900" b="0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direct connections on long-distance services operated by DB and partners, incl. first and last mile between station and town centre (avg. 30 min); source: </a:t>
            </a:r>
            <a:r>
              <a:rPr lang="en-gb" sz="900" b="0" i="0" u="sng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  <a:hlinkClick r:id="rId4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ahn.de</a:t>
            </a:r>
            <a:r>
              <a:rPr lang="en-gb" sz="900" b="0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 </a:t>
            </a:r>
            <a:r>
              <a:rPr lang="en-gb" sz="900" b="1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Productive time on trains:</a:t>
            </a:r>
            <a:r>
              <a:rPr lang="en-gb" sz="900" b="0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 travel time minus boarding/deboarding (avg. 20 min)</a:t>
            </a:r>
            <a:r>
              <a:rPr lang="en-gb" sz="900" b="0" i="0" u="non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​​</a:t>
            </a:r>
          </a:p>
          <a:p>
            <a:pPr fontAlgn="base">
              <a:spcBef>
                <a:spcPts val="200"/>
              </a:spcBef>
              <a:defRPr/>
            </a:pPr>
            <a:r>
              <a:rPr lang="en-gb" sz="900" b="1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Travel time by car: </a:t>
            </a:r>
            <a:r>
              <a:rPr lang="en-US" sz="900" dirty="0">
                <a:solidFill>
                  <a:srgbClr val="AFB4BB"/>
                </a:solidFill>
                <a:latin typeface="DB Sans" panose="020B0502050202020204" pitchFamily="34" charset="0"/>
              </a:rPr>
              <a:t>Total travel time by car including the search for a city-</a:t>
            </a:r>
            <a:r>
              <a:rPr lang="en-US" sz="900" dirty="0" err="1">
                <a:solidFill>
                  <a:srgbClr val="AFB4BB"/>
                </a:solidFill>
                <a:latin typeface="DB Sans" panose="020B0502050202020204" pitchFamily="34" charset="0"/>
              </a:rPr>
              <a:t>centre</a:t>
            </a:r>
            <a:r>
              <a:rPr lang="en-US" sz="900" dirty="0">
                <a:solidFill>
                  <a:srgbClr val="AFB4BB"/>
                </a:solidFill>
                <a:latin typeface="DB Sans" panose="020B0502050202020204" pitchFamily="34" charset="0"/>
              </a:rPr>
              <a:t> parking space 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(</a:t>
            </a:r>
            <a:r>
              <a:rPr kumimoji="0" lang="de-DE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avg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. 0h 20m); source:</a:t>
            </a:r>
            <a:r>
              <a:rPr lang="de-DE" sz="900" dirty="0">
                <a:solidFill>
                  <a:srgbClr val="AFB4BB"/>
                </a:solidFill>
                <a:latin typeface="DB Sans" panose="020B0502050202020204" pitchFamily="34" charset="0"/>
              </a:rPr>
              <a:t> </a:t>
            </a:r>
            <a:r>
              <a:rPr lang="de-DE" sz="900" dirty="0" err="1">
                <a:solidFill>
                  <a:srgbClr val="AFB4BB"/>
                </a:solidFill>
                <a:latin typeface="DB Sans" panose="020B0502050202020204" pitchFamily="34" charset="0"/>
              </a:rPr>
              <a:t>UmweltmobilCheck</a:t>
            </a:r>
            <a:r>
              <a:rPr lang="de-DE" sz="900" dirty="0">
                <a:solidFill>
                  <a:srgbClr val="AFB4BB"/>
                </a:solidFill>
                <a:latin typeface="DB Sans" panose="020B0502050202020204" pitchFamily="34" charset="0"/>
              </a:rPr>
              <a:t> at </a:t>
            </a:r>
            <a:r>
              <a:rPr kumimoji="0" lang="de-DE" sz="900" b="0" i="0" u="sng" strike="noStrike" kern="1200" cap="none" spc="0" normalizeH="0" baseline="0" noProof="0" dirty="0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bahn.de, </a:t>
            </a:r>
            <a:r>
              <a:rPr kumimoji="0" lang="de-DE" sz="900" b="0" i="0" strike="noStrike" kern="1200" cap="none" spc="0" normalizeH="0" baseline="0" noProof="0" dirty="0" err="1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search</a:t>
            </a:r>
            <a:r>
              <a:rPr kumimoji="0" lang="de-DE" sz="900" b="0" i="0" strike="noStrike" kern="1200" cap="none" spc="0" normalizeH="0" baseline="0" noProof="0" dirty="0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 </a:t>
            </a:r>
            <a:r>
              <a:rPr kumimoji="0" lang="de-DE" sz="900" b="0" i="0" strike="noStrike" kern="1200" cap="none" spc="0" normalizeH="0" baseline="0" noProof="0" dirty="0" err="1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for</a:t>
            </a:r>
            <a:r>
              <a:rPr kumimoji="0" lang="de-DE" sz="900" b="0" i="0" strike="noStrike" kern="1200" cap="none" spc="0" normalizeH="0" baseline="0" noProof="0" dirty="0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 </a:t>
            </a:r>
            <a:r>
              <a:rPr kumimoji="0" lang="de-DE" sz="900" b="0" i="0" strike="noStrike" kern="1200" cap="none" spc="0" normalizeH="0" baseline="0" noProof="0" dirty="0" err="1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parking</a:t>
            </a:r>
            <a:r>
              <a:rPr kumimoji="0" lang="de-DE" sz="900" b="0" i="0" strike="noStrike" kern="1200" cap="none" spc="0" normalizeH="0" baseline="0" noProof="0" dirty="0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 </a:t>
            </a:r>
            <a:r>
              <a:rPr kumimoji="0" lang="de-DE" sz="900" b="0" i="0" strike="noStrike" kern="1200" cap="none" spc="0" normalizeH="0" baseline="0" noProof="0" dirty="0" err="1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space</a:t>
            </a:r>
            <a:r>
              <a:rPr kumimoji="0" lang="de-DE" sz="900" b="0" i="0" strike="noStrike" kern="1200" cap="none" spc="0" normalizeH="0" baseline="0" noProof="0" dirty="0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 in Germany</a:t>
            </a:r>
            <a:r>
              <a:rPr kumimoji="0" lang="de-DE" sz="900" b="0" i="0" u="sng" strike="noStrike" kern="1200" cap="none" spc="0" normalizeH="0" baseline="0" noProof="0" dirty="0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: https://inrix.com/press-releases/parking-pain-de/ 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sng" strike="noStrike" kern="1200" cap="none" spc="0" normalizeH="0" baseline="0" noProof="0" dirty="0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 https://de.statista.com/statistik/daten/studie/732264/umfrage/aufgewendete-zeit-fuer-die-parkplatzsuche-in-deutschen-grossstaedten/  </a:t>
            </a:r>
          </a:p>
          <a:p>
            <a:pPr algn="l" rtl="0" fontAlgn="base">
              <a:spcBef>
                <a:spcPts val="200"/>
              </a:spcBef>
            </a:pPr>
            <a:r>
              <a:rPr lang="en-gb" sz="900" b="1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Travel time on planes:</a:t>
            </a:r>
            <a:r>
              <a:rPr lang="en-gb" sz="900" b="0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 direct flight incl. check-in/out (avg. 1h 30m) plus first and last mile between station and town centre (avg. 1 h); source: </a:t>
            </a:r>
            <a:r>
              <a:rPr lang="en-gb" sz="900" b="0" i="0" u="sng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  <a:hlinkClick r:id="rId4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kyscanner.de</a:t>
            </a:r>
            <a:r>
              <a:rPr lang="en-gb" sz="900" b="0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 </a:t>
            </a:r>
            <a:r>
              <a:rPr lang="en-gb" sz="900" b="1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Productive time on planes: </a:t>
            </a:r>
            <a:r>
              <a:rPr lang="en-gb" sz="900" b="0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travel time minus boarding/deboarding (avg. 20 min)</a:t>
            </a:r>
            <a:r>
              <a:rPr lang="en-gb" sz="900" b="0" i="0" u="non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​</a:t>
            </a:r>
          </a:p>
          <a:p>
            <a:pPr algn="l" rtl="0" fontAlgn="base">
              <a:spcBef>
                <a:spcPts val="200"/>
              </a:spcBef>
            </a:pPr>
            <a:r>
              <a:rPr lang="en-gb" sz="900" b="1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All times are rounded to the nearest 5 minutes.</a:t>
            </a:r>
            <a:endParaRPr lang="en-gb" sz="900" b="1" i="0" dirty="0">
              <a:solidFill>
                <a:srgbClr val="AFB4BB"/>
              </a:solidFill>
              <a:effectLst/>
              <a:latin typeface="DB Sans" panose="020B0502050202020204" pitchFamily="34" charset="0"/>
            </a:endParaRPr>
          </a:p>
          <a:p>
            <a:pPr algn="l" rtl="0" fontAlgn="base">
              <a:spcBef>
                <a:spcPts val="200"/>
              </a:spcBef>
            </a:pPr>
            <a:r>
              <a:rPr lang="en-gb" sz="900" b="1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CO</a:t>
            </a:r>
            <a:r>
              <a:rPr lang="en-gb" sz="900" b="1" i="0" u="none" strike="noStrike" baseline="-2500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2</a:t>
            </a:r>
            <a:r>
              <a:rPr lang="en-gb" sz="900" b="1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 emissions: </a:t>
            </a:r>
            <a:r>
              <a:rPr lang="en-gb" sz="900" b="0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Source according to </a:t>
            </a:r>
            <a:r>
              <a:rPr lang="en-gb" sz="900" b="0" i="1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Environmental Mobility Check </a:t>
            </a:r>
            <a:r>
              <a:rPr lang="en-gb" sz="900" b="0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at </a:t>
            </a:r>
            <a:r>
              <a:rPr kumimoji="0" lang="de-DE" sz="900" b="0" i="0" u="sng" strike="noStrike" kern="1200" cap="none" spc="0" normalizeH="0" baseline="0" noProof="0" dirty="0">
                <a:ln>
                  <a:noFill/>
                </a:ln>
                <a:solidFill>
                  <a:srgbClr val="AFB4BB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+mn-cs"/>
              </a:rPr>
              <a:t>https://www.umweltmobilcheck.de/ </a:t>
            </a:r>
            <a:r>
              <a:rPr lang="en-gb" sz="900" b="0" i="0" u="none" strike="noStrik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.</a:t>
            </a:r>
            <a:r>
              <a:rPr lang="en-gb" sz="900" b="0" i="0" u="non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 </a:t>
            </a:r>
            <a:r>
              <a:rPr lang="en-gb" sz="900" dirty="0">
                <a:solidFill>
                  <a:srgbClr val="AFB4BB"/>
                </a:solidFill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With </a:t>
            </a:r>
            <a:r>
              <a:rPr lang="en-gb" sz="900" dirty="0" err="1">
                <a:solidFill>
                  <a:srgbClr val="AFB4BB"/>
                </a:solidFill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bahn.business</a:t>
            </a:r>
            <a:r>
              <a:rPr lang="en-gb" sz="900" dirty="0">
                <a:solidFill>
                  <a:srgbClr val="AFB4BB"/>
                </a:solidFill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 t</a:t>
            </a:r>
            <a:r>
              <a:rPr lang="en-gb" sz="900" b="0" i="0" u="none" baseline="0" dirty="0">
                <a:solidFill>
                  <a:srgbClr val="AFB4BB"/>
                </a:solidFill>
                <a:effectLst/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raveling within Germany </a:t>
            </a:r>
            <a:r>
              <a:rPr lang="en-gb" sz="900" b="0" i="0" u="none" baseline="0" dirty="0">
                <a:solidFill>
                  <a:srgbClr val="AFB4BB"/>
                </a:solidFill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using DB local, regional and long distance transport does not cause any CO</a:t>
            </a:r>
            <a:r>
              <a:rPr lang="en-gb" sz="900" b="0" i="0" u="none" baseline="-25000" dirty="0">
                <a:solidFill>
                  <a:srgbClr val="AFB4BB"/>
                </a:solidFill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2</a:t>
            </a:r>
            <a:r>
              <a:rPr lang="en-gb" sz="900" b="0" i="0" u="none" baseline="0" dirty="0">
                <a:solidFill>
                  <a:srgbClr val="AFB4BB"/>
                </a:solidFill>
                <a:latin typeface="DB Sans" panose="020B0502050202020204" pitchFamily="34" charset="0"/>
                <a:ea typeface="DB Sans" panose="020B0502050202020204" pitchFamily="34" charset="0"/>
                <a:cs typeface="DB Sans" panose="020B0502050202020204" pitchFamily="34" charset="0"/>
                <a:sym typeface="DB Sans" panose="020B0502050202020204" pitchFamily="34" charset="0"/>
              </a:rPr>
              <a:t> emissions. </a:t>
            </a:r>
            <a:endParaRPr lang="en-gb" sz="900" b="0" i="0" dirty="0">
              <a:solidFill>
                <a:srgbClr val="AFB4BB"/>
              </a:solidFill>
              <a:effectLst/>
              <a:latin typeface="DB Sans" panose="020B0502050202020204" pitchFamily="34" charset="0"/>
            </a:endParaRPr>
          </a:p>
        </p:txBody>
      </p:sp>
      <p:graphicFrame>
        <p:nvGraphicFramePr>
          <p:cNvPr id="96" name="masterTableStyle1">
            <a:extLst>
              <a:ext uri="{FF2B5EF4-FFF2-40B4-BE49-F238E27FC236}">
                <a16:creationId xmlns:a16="http://schemas.microsoft.com/office/drawing/2014/main" id="{3BF23F0A-6EC2-49D2-9867-759F8E4949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8527497"/>
              </p:ext>
            </p:extLst>
          </p:nvPr>
        </p:nvGraphicFramePr>
        <p:xfrm>
          <a:off x="4241308" y="1609187"/>
          <a:ext cx="6997599" cy="292054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27859">
                  <a:extLst>
                    <a:ext uri="{9D8B030D-6E8A-4147-A177-3AD203B41FA5}">
                      <a16:colId xmlns:a16="http://schemas.microsoft.com/office/drawing/2014/main" val="1379910579"/>
                    </a:ext>
                  </a:extLst>
                </a:gridCol>
                <a:gridCol w="630537">
                  <a:extLst>
                    <a:ext uri="{9D8B030D-6E8A-4147-A177-3AD203B41FA5}">
                      <a16:colId xmlns:a16="http://schemas.microsoft.com/office/drawing/2014/main" val="2468526152"/>
                    </a:ext>
                  </a:extLst>
                </a:gridCol>
                <a:gridCol w="669946">
                  <a:extLst>
                    <a:ext uri="{9D8B030D-6E8A-4147-A177-3AD203B41FA5}">
                      <a16:colId xmlns:a16="http://schemas.microsoft.com/office/drawing/2014/main" val="2441621315"/>
                    </a:ext>
                  </a:extLst>
                </a:gridCol>
                <a:gridCol w="669138">
                  <a:extLst>
                    <a:ext uri="{9D8B030D-6E8A-4147-A177-3AD203B41FA5}">
                      <a16:colId xmlns:a16="http://schemas.microsoft.com/office/drawing/2014/main" val="178584307"/>
                    </a:ext>
                  </a:extLst>
                </a:gridCol>
                <a:gridCol w="669138">
                  <a:extLst>
                    <a:ext uri="{9D8B030D-6E8A-4147-A177-3AD203B41FA5}">
                      <a16:colId xmlns:a16="http://schemas.microsoft.com/office/drawing/2014/main" val="3562737842"/>
                    </a:ext>
                  </a:extLst>
                </a:gridCol>
                <a:gridCol w="669138">
                  <a:extLst>
                    <a:ext uri="{9D8B030D-6E8A-4147-A177-3AD203B41FA5}">
                      <a16:colId xmlns:a16="http://schemas.microsoft.com/office/drawing/2014/main" val="2048627572"/>
                    </a:ext>
                  </a:extLst>
                </a:gridCol>
                <a:gridCol w="669138">
                  <a:extLst>
                    <a:ext uri="{9D8B030D-6E8A-4147-A177-3AD203B41FA5}">
                      <a16:colId xmlns:a16="http://schemas.microsoft.com/office/drawing/2014/main" val="2792069354"/>
                    </a:ext>
                  </a:extLst>
                </a:gridCol>
                <a:gridCol w="621829">
                  <a:extLst>
                    <a:ext uri="{9D8B030D-6E8A-4147-A177-3AD203B41FA5}">
                      <a16:colId xmlns:a16="http://schemas.microsoft.com/office/drawing/2014/main" val="3818416951"/>
                    </a:ext>
                  </a:extLst>
                </a:gridCol>
                <a:gridCol w="638290">
                  <a:extLst>
                    <a:ext uri="{9D8B030D-6E8A-4147-A177-3AD203B41FA5}">
                      <a16:colId xmlns:a16="http://schemas.microsoft.com/office/drawing/2014/main" val="524407996"/>
                    </a:ext>
                  </a:extLst>
                </a:gridCol>
                <a:gridCol w="632586">
                  <a:extLst>
                    <a:ext uri="{9D8B030D-6E8A-4147-A177-3AD203B41FA5}">
                      <a16:colId xmlns:a16="http://schemas.microsoft.com/office/drawing/2014/main" val="2026142867"/>
                    </a:ext>
                  </a:extLst>
                </a:gridCol>
              </a:tblGrid>
              <a:tr h="300607">
                <a:tc>
                  <a:txBody>
                    <a:bodyPr/>
                    <a:lstStyle/>
                    <a:p>
                      <a:pPr algn="l"/>
                      <a:endParaRPr lang="de-DE" sz="800" b="1" i="0">
                        <a:solidFill>
                          <a:srgbClr val="000000"/>
                        </a:solidFill>
                        <a:latin typeface="DB Sans" panose="020B0502050202020204" pitchFamily="34" charset="0"/>
                      </a:endParaRPr>
                    </a:p>
                  </a:txBody>
                  <a:tcPr marL="0" marR="72000" marT="72000" marB="720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endParaRPr lang="de-DE" sz="800" b="1" i="0">
                        <a:solidFill>
                          <a:srgbClr val="000000"/>
                        </a:solidFill>
                        <a:latin typeface="DB Sans" panose="020B0502050202020204" pitchFamily="34" charset="0"/>
                      </a:endParaRPr>
                    </a:p>
                  </a:txBody>
                  <a:tcPr marL="0" marR="72000" marT="72000" marB="72000">
                    <a:lnL>
                      <a:noFill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r>
                        <a:rPr lang="de-DE" sz="1600" b="1" i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</a:rPr>
                        <a:t>Header</a:t>
                      </a:r>
                    </a:p>
                  </a:txBody>
                  <a:tcPr marL="0" marR="72000" marT="72000" marB="72000"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r>
                        <a:rPr lang="de-DE" sz="1600" b="1" i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</a:rPr>
                        <a:t>Header</a:t>
                      </a:r>
                    </a:p>
                  </a:txBody>
                  <a:tcPr marL="0" marR="72000" marT="72000" marB="72000"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endParaRPr lang="de-DE" sz="800" b="1" i="0" dirty="0">
                        <a:solidFill>
                          <a:srgbClr val="000000"/>
                        </a:solidFill>
                        <a:latin typeface="DB Sans" panose="020B0502050202020204" pitchFamily="34" charset="0"/>
                      </a:endParaRPr>
                    </a:p>
                  </a:txBody>
                  <a:tcPr marL="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1" i="0" dirty="0">
                        <a:solidFill>
                          <a:srgbClr val="000000"/>
                        </a:solidFill>
                        <a:latin typeface="DB Sans" panose="020B0502050202020204" pitchFamily="34" charset="0"/>
                      </a:endParaRPr>
                    </a:p>
                  </a:txBody>
                  <a:tcPr marL="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800" b="1" i="0" dirty="0">
                        <a:solidFill>
                          <a:srgbClr val="000000"/>
                        </a:solidFill>
                        <a:latin typeface="DB Sans" panose="020B0502050202020204" pitchFamily="34" charset="0"/>
                      </a:endParaRPr>
                    </a:p>
                  </a:txBody>
                  <a:tcPr marL="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endParaRPr lang="de-DE" sz="800" b="1" i="0">
                        <a:solidFill>
                          <a:srgbClr val="000000"/>
                        </a:solidFill>
                        <a:latin typeface="DB Sans" panose="020B0502050202020204" pitchFamily="34" charset="0"/>
                      </a:endParaRPr>
                    </a:p>
                  </a:txBody>
                  <a:tcPr marL="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r>
                        <a:rPr lang="de-DE" sz="1600" b="1" i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</a:rPr>
                        <a:t>Header</a:t>
                      </a:r>
                    </a:p>
                  </a:txBody>
                  <a:tcPr marL="0" marR="72000" marT="72000" marB="72000"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r>
                        <a:rPr lang="de-DE" sz="1600" b="1" i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</a:rPr>
                        <a:t>Header</a:t>
                      </a:r>
                    </a:p>
                  </a:txBody>
                  <a:tcPr marL="0" marR="72000" marT="72000" marB="72000"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655972"/>
                  </a:ext>
                </a:extLst>
              </a:tr>
              <a:tr h="509221">
                <a:tc>
                  <a:txBody>
                    <a:bodyPr/>
                    <a:lstStyle/>
                    <a:p>
                      <a:pPr marL="0" indent="0" algn="l"/>
                      <a:r>
                        <a:rPr lang="de-DE" sz="800" b="1" i="0" kern="1200" dirty="0" err="1">
                          <a:solidFill>
                            <a:srgbClr val="00A099"/>
                          </a:solidFill>
                          <a:latin typeface="DB Head Black" panose="020B0A02050202020204" pitchFamily="34" charset="0"/>
                          <a:ea typeface="+mn-ea"/>
                          <a:cs typeface="+mn-cs"/>
                        </a:rPr>
                        <a:t>To</a:t>
                      </a:r>
                      <a:r>
                        <a:rPr lang="de-DE" sz="800" b="1" i="0" kern="1200" dirty="0">
                          <a:solidFill>
                            <a:srgbClr val="00A099"/>
                          </a:solidFill>
                          <a:latin typeface="DB Head Black" panose="020B0A0205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800" b="1" i="0" kern="1200" dirty="0" err="1">
                          <a:solidFill>
                            <a:srgbClr val="00A099"/>
                          </a:solidFill>
                          <a:latin typeface="DB Head Black" panose="020B0A02050202020204" pitchFamily="34" charset="0"/>
                          <a:ea typeface="+mn-ea"/>
                          <a:cs typeface="+mn-cs"/>
                        </a:rPr>
                        <a:t>Brussels</a:t>
                      </a:r>
                      <a:r>
                        <a:rPr lang="de-DE" sz="800" b="1" i="0" kern="1200" dirty="0">
                          <a:solidFill>
                            <a:srgbClr val="00A099"/>
                          </a:solidFill>
                          <a:latin typeface="DB Head Black" panose="020B0A02050202020204" pitchFamily="34" charset="0"/>
                          <a:ea typeface="+mn-ea"/>
                          <a:cs typeface="+mn-cs"/>
                        </a:rPr>
                        <a:t> </a:t>
                      </a:r>
                      <a:br>
                        <a:rPr lang="de-DE" sz="800" b="1" i="0" kern="1200" dirty="0">
                          <a:solidFill>
                            <a:srgbClr val="00A099"/>
                          </a:solidFill>
                          <a:latin typeface="DB Head Black" panose="020B0A02050202020204" pitchFamily="34" charset="0"/>
                          <a:ea typeface="+mn-ea"/>
                          <a:cs typeface="+mn-cs"/>
                        </a:rPr>
                      </a:br>
                      <a:r>
                        <a:rPr lang="de-DE" sz="800" b="1" i="0" kern="1200" dirty="0" err="1">
                          <a:solidFill>
                            <a:srgbClr val="00A099"/>
                          </a:solidFill>
                          <a:latin typeface="DB Head Black" panose="020B0A02050202020204" pitchFamily="34" charset="0"/>
                          <a:ea typeface="+mn-ea"/>
                          <a:cs typeface="+mn-cs"/>
                        </a:rPr>
                        <a:t>from</a:t>
                      </a:r>
                      <a:r>
                        <a:rPr lang="de-DE" sz="800" b="1" i="0" kern="1200" dirty="0">
                          <a:solidFill>
                            <a:srgbClr val="00A099"/>
                          </a:solidFill>
                          <a:latin typeface="DB Head Black" panose="020B0A02050202020204" pitchFamily="34" charset="0"/>
                          <a:ea typeface="+mn-ea"/>
                          <a:cs typeface="+mn-cs"/>
                        </a:rPr>
                        <a:t>:</a:t>
                      </a:r>
                    </a:p>
                  </a:txBody>
                  <a:tcPr marL="64800" marR="72000" marT="72000" marB="72000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i="0" u="none" kern="1200" baseline="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Travel time</a:t>
                      </a:r>
                    </a:p>
                    <a:p>
                      <a:pPr algn="just"/>
                      <a:endParaRPr lang="de-DE" sz="800" b="1" i="0" kern="1200" dirty="0">
                        <a:solidFill>
                          <a:srgbClr val="000000"/>
                        </a:solidFill>
                        <a:latin typeface="DB Sans" panose="020B050205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72000" marT="72000" marB="72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en-gb" sz="800" b="1" i="0" u="none" kern="1200" baseline="0" dirty="0" err="1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Produc-tive</a:t>
                      </a:r>
                      <a:r>
                        <a:rPr lang="en-gb" sz="800" b="1" i="0" u="none" kern="1200" baseline="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 time</a:t>
                      </a:r>
                    </a:p>
                  </a:txBody>
                  <a:tcPr marL="72000" marR="72000" marT="72000" marB="72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F5F4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en-gb" sz="800" b="1" i="0" u="none" kern="1200" baseline="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Carbon emissions</a:t>
                      </a:r>
                    </a:p>
                  </a:txBody>
                  <a:tcPr marL="72000" marR="72000" marT="72000" marB="72000">
                    <a:lnL>
                      <a:noFill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en-gb" sz="800" b="1" i="0" u="none" kern="1200" baseline="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Travel time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en-gb" sz="800" b="1" i="0" u="none" kern="1200" baseline="0" dirty="0" err="1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Produc-tive</a:t>
                      </a:r>
                      <a:r>
                        <a:rPr lang="en-gb" sz="800" b="1" i="0" u="none" kern="1200" baseline="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 time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en-gb" sz="800" b="1" i="0" u="none" kern="1200" baseline="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Carbon emissions</a:t>
                      </a:r>
                    </a:p>
                    <a:p>
                      <a:pPr algn="just"/>
                      <a:endParaRPr lang="de-DE" sz="800" b="1" i="0" kern="1200" dirty="0">
                        <a:solidFill>
                          <a:srgbClr val="000000"/>
                        </a:solidFill>
                        <a:latin typeface="DB Sans" panose="020B050205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en-gb" sz="800" b="1" i="0" u="none" kern="1200" baseline="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Travel time</a:t>
                      </a:r>
                    </a:p>
                  </a:txBody>
                  <a:tcPr marL="72000" marR="72000" marT="72000" marB="72000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en-gb" sz="800" b="1" i="0" u="none" kern="1200" baseline="0" dirty="0" err="1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Produc-tive</a:t>
                      </a:r>
                      <a:r>
                        <a:rPr lang="en-gb" sz="800" b="1" i="0" u="none" kern="1200" baseline="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 time</a:t>
                      </a:r>
                    </a:p>
                  </a:txBody>
                  <a:tcPr marL="72000" marR="72000" marT="72000" marB="72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en-gb" sz="800" b="1" i="0" u="none" kern="1200" baseline="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Carbon emissions</a:t>
                      </a:r>
                    </a:p>
                  </a:txBody>
                  <a:tcPr marL="72000" marR="72000" marT="72000" marB="7200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7397235"/>
                  </a:ext>
                </a:extLst>
              </a:tr>
              <a:tr h="351697">
                <a:tc>
                  <a:txBody>
                    <a:bodyPr/>
                    <a:lstStyle/>
                    <a:p>
                      <a:pPr marL="0" indent="0" algn="just" defTabSz="914400" rtl="0" eaLnBrk="1" latinLnBrk="0" hangingPunct="1">
                        <a:buClr>
                          <a:srgbClr val="00A099"/>
                        </a:buClr>
                        <a:buSzPct val="100000"/>
                        <a:buFont typeface="DB Sans" panose="020B0502050202020204" pitchFamily="34" charset="0"/>
                        <a:buNone/>
                      </a:pPr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Düsseldorf</a:t>
                      </a:r>
                    </a:p>
                  </a:txBody>
                  <a:tcPr marL="64677" marR="64677" marT="0" marB="0" anchor="ctr">
                    <a:lnT w="6350" cmpd="sng"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3h 10m</a:t>
                      </a:r>
                    </a:p>
                  </a:txBody>
                  <a:tcPr marL="64677" marR="64677" marT="0" marB="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2h 20m</a:t>
                      </a:r>
                    </a:p>
                  </a:txBody>
                  <a:tcPr marL="64677" marR="64677" marT="0" marB="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F5F4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3,8 kg</a:t>
                      </a:r>
                    </a:p>
                  </a:txBody>
                  <a:tcPr marL="64677" marR="64677" marT="0" marB="0" anchor="ctr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2h 20m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  <a:p>
                      <a:pPr algn="just"/>
                      <a:endParaRPr lang="de-DE" sz="800" b="0" i="0" kern="1200" dirty="0">
                        <a:solidFill>
                          <a:srgbClr val="000000"/>
                        </a:solidFill>
                        <a:latin typeface="DB Sans" panose="020B0502050202020204" pitchFamily="34" charset="0"/>
                        <a:ea typeface="+mn-ea"/>
                        <a:cs typeface="+mn-cs"/>
                      </a:endParaRP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34,1 kg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4677" marR="64677" marT="0" marB="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4677" marR="64677" marT="0" marB="0" anchor="ctr"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7150185"/>
                  </a:ext>
                </a:extLst>
              </a:tr>
              <a:tr h="351697">
                <a:tc>
                  <a:txBody>
                    <a:bodyPr/>
                    <a:lstStyle/>
                    <a:p>
                      <a:pPr marL="0" indent="0" algn="just" defTabSz="914400" rtl="0" eaLnBrk="1" latinLnBrk="0" hangingPunct="1">
                        <a:buClr>
                          <a:srgbClr val="00A099"/>
                        </a:buClr>
                        <a:buSzPct val="100000"/>
                        <a:buFont typeface="DB Sans" panose="020B0502050202020204" pitchFamily="34" charset="0"/>
                        <a:buNone/>
                      </a:pPr>
                      <a:r>
                        <a:rPr lang="de-DE" sz="800" b="1" i="0" kern="120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Frankfurt (M)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3h 40m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2h 50m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F5F4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2,0 kg</a:t>
                      </a:r>
                    </a:p>
                  </a:txBody>
                  <a:tcPr marL="64677" marR="64677" marT="0" marB="0" anchor="ctr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3h 50m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  <a:p>
                      <a:pPr algn="just"/>
                      <a:endParaRPr lang="de-DE" sz="800" b="0" i="0" kern="1200" dirty="0">
                        <a:solidFill>
                          <a:srgbClr val="000000"/>
                        </a:solidFill>
                        <a:latin typeface="DB Sans" panose="020B0502050202020204" pitchFamily="34" charset="0"/>
                        <a:ea typeface="+mn-ea"/>
                        <a:cs typeface="+mn-cs"/>
                      </a:endParaRP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71,8 kg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3h 15m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35 m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82,1 kg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533449"/>
                  </a:ext>
                </a:extLst>
              </a:tr>
              <a:tr h="351697">
                <a:tc>
                  <a:txBody>
                    <a:bodyPr/>
                    <a:lstStyle/>
                    <a:p>
                      <a:pPr marL="0" indent="0" algn="just" defTabSz="914400" rtl="0" eaLnBrk="1" latinLnBrk="0" hangingPunct="1">
                        <a:buClr>
                          <a:srgbClr val="00A099"/>
                        </a:buClr>
                        <a:buSzPct val="100000"/>
                        <a:buFont typeface="DB Sans" panose="020B0502050202020204" pitchFamily="34" charset="0"/>
                        <a:buNone/>
                      </a:pPr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Hannover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5h 30m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4h 40m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F5F4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2,0 kg</a:t>
                      </a:r>
                    </a:p>
                  </a:txBody>
                  <a:tcPr marL="64677" marR="64677" marT="0" marB="0" anchor="ctr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4h 40m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  <a:p>
                      <a:pPr algn="just"/>
                      <a:endParaRPr lang="de-DE" sz="800" b="0" i="0" kern="1200" dirty="0">
                        <a:solidFill>
                          <a:srgbClr val="000000"/>
                        </a:solidFill>
                        <a:latin typeface="DB Sans" panose="020B0502050202020204" pitchFamily="34" charset="0"/>
                        <a:ea typeface="+mn-ea"/>
                        <a:cs typeface="+mn-cs"/>
                      </a:endParaRP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78,2 kg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038958"/>
                  </a:ext>
                </a:extLst>
              </a:tr>
              <a:tr h="351697">
                <a:tc>
                  <a:txBody>
                    <a:bodyPr/>
                    <a:lstStyle/>
                    <a:p>
                      <a:pPr marL="0" indent="0" algn="just" defTabSz="914400" rtl="0" eaLnBrk="1" latinLnBrk="0" hangingPunct="1">
                        <a:buClr>
                          <a:srgbClr val="00A099"/>
                        </a:buClr>
                        <a:buSzPct val="100000"/>
                        <a:buFont typeface="DB Sans" panose="020B0502050202020204" pitchFamily="34" charset="0"/>
                        <a:buNone/>
                      </a:pPr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Cologne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2h 25m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1h 35m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F5F4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3,6 kg</a:t>
                      </a:r>
                    </a:p>
                  </a:txBody>
                  <a:tcPr marL="64677" marR="64677" marT="0" marB="0" anchor="ctr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2h 30m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  <a:p>
                      <a:pPr algn="just"/>
                      <a:endParaRPr lang="de-DE" sz="800" b="0" i="0" kern="1200" dirty="0">
                        <a:solidFill>
                          <a:srgbClr val="000000"/>
                        </a:solidFill>
                        <a:latin typeface="DB Sans" panose="020B0502050202020204" pitchFamily="34" charset="0"/>
                        <a:ea typeface="+mn-ea"/>
                        <a:cs typeface="+mn-cs"/>
                      </a:endParaRP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70,1 kg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1" i="0" kern="120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0984566"/>
                  </a:ext>
                </a:extLst>
              </a:tr>
              <a:tr h="351697">
                <a:tc>
                  <a:txBody>
                    <a:bodyPr/>
                    <a:lstStyle/>
                    <a:p>
                      <a:pPr marL="0" indent="0" algn="just" defTabSz="914400" rtl="0" eaLnBrk="1" latinLnBrk="0" hangingPunct="1">
                        <a:buClr>
                          <a:srgbClr val="00A099"/>
                        </a:buClr>
                        <a:buSzPct val="100000"/>
                        <a:buFont typeface="DB Sans" panose="020B0502050202020204" pitchFamily="34" charset="0"/>
                        <a:buNone/>
                      </a:pPr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Mannheim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4h 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3h 10m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F5F4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2,0 kg</a:t>
                      </a:r>
                    </a:p>
                  </a:txBody>
                  <a:tcPr marL="64677" marR="64677" marT="0" marB="0" anchor="ctr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4h 05m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  <a:p>
                      <a:pPr algn="just"/>
                      <a:endParaRPr lang="de-DE" sz="800" b="0" i="0" kern="1200" dirty="0">
                        <a:solidFill>
                          <a:srgbClr val="000000"/>
                        </a:solidFill>
                        <a:latin typeface="DB Sans" panose="020B0502050202020204" pitchFamily="34" charset="0"/>
                        <a:ea typeface="+mn-ea"/>
                        <a:cs typeface="+mn-cs"/>
                      </a:endParaRP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77,5 kg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3h 15m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35 m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105,0 kg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9709433"/>
                  </a:ext>
                </a:extLst>
              </a:tr>
              <a:tr h="351697">
                <a:tc>
                  <a:txBody>
                    <a:bodyPr/>
                    <a:lstStyle/>
                    <a:p>
                      <a:pPr marL="0" indent="0" algn="just" defTabSz="914400" rtl="0" eaLnBrk="1" latinLnBrk="0" hangingPunct="1">
                        <a:buClr>
                          <a:srgbClr val="00A099"/>
                        </a:buClr>
                        <a:buSzPct val="100000"/>
                        <a:buFont typeface="DB Sans" panose="020B0502050202020204" pitchFamily="34" charset="0"/>
                        <a:buNone/>
                      </a:pPr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Stuttgart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4h 35m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3h 55m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F5F4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2,0 kg</a:t>
                      </a:r>
                    </a:p>
                  </a:txBody>
                  <a:tcPr marL="64677" marR="64677" marT="0" marB="0" anchor="ctr"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5h 15m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  <a:p>
                      <a:pPr algn="just"/>
                      <a:endParaRPr lang="de-DE" sz="800" b="0" i="0" kern="1200" dirty="0">
                        <a:solidFill>
                          <a:srgbClr val="000000"/>
                        </a:solidFill>
                        <a:latin typeface="DB Sans" panose="020B0502050202020204" pitchFamily="34" charset="0"/>
                        <a:ea typeface="+mn-ea"/>
                        <a:cs typeface="+mn-cs"/>
                      </a:endParaRP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101,6 kg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4677" marR="64677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1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de-DE" sz="800" b="0" i="0" kern="1200" dirty="0">
                          <a:solidFill>
                            <a:srgbClr val="000000"/>
                          </a:solidFill>
                          <a:latin typeface="DB Sans" panose="020B0502050202020204" pitchFamily="34" charset="0"/>
                          <a:ea typeface="+mn-ea"/>
                          <a:cs typeface="+mn-cs"/>
                        </a:rPr>
                        <a:t>---</a:t>
                      </a:r>
                    </a:p>
                  </a:txBody>
                  <a:tcPr marL="64677" marR="64677" marT="0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9353889"/>
                  </a:ext>
                </a:extLst>
              </a:tr>
            </a:tbl>
          </a:graphicData>
        </a:graphic>
      </p:graphicFrame>
      <p:grpSp>
        <p:nvGrpSpPr>
          <p:cNvPr id="97" name="easyIcon">
            <a:extLst>
              <a:ext uri="{FF2B5EF4-FFF2-40B4-BE49-F238E27FC236}">
                <a16:creationId xmlns:a16="http://schemas.microsoft.com/office/drawing/2014/main" id="{3765506B-9559-4272-A8CA-EC20425D465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063250" y="1315628"/>
            <a:ext cx="504000" cy="504000"/>
            <a:chOff x="6410268" y="2041310"/>
            <a:chExt cx="714050" cy="714049"/>
          </a:xfrm>
        </p:grpSpPr>
        <p:sp>
          <p:nvSpPr>
            <p:cNvPr id="98" name="Background">
              <a:extLst>
                <a:ext uri="{FF2B5EF4-FFF2-40B4-BE49-F238E27FC236}">
                  <a16:creationId xmlns:a16="http://schemas.microsoft.com/office/drawing/2014/main" id="{AFA94B1A-DA5D-439C-ABBC-FBC113E52BC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10268" y="2041310"/>
              <a:ext cx="714050" cy="71404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Vector">
              <a:extLst>
                <a:ext uri="{FF2B5EF4-FFF2-40B4-BE49-F238E27FC236}">
                  <a16:creationId xmlns:a16="http://schemas.microsoft.com/office/drawing/2014/main" id="{0883F375-3D34-43A4-8FC7-EAC74F21F675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gray">
            <a:xfrm>
              <a:off x="6577893" y="2110340"/>
              <a:ext cx="378810" cy="576001"/>
            </a:xfrm>
            <a:custGeom>
              <a:avLst/>
              <a:gdLst>
                <a:gd name="connsiteX0" fmla="*/ 89486 w 264746"/>
                <a:gd name="connsiteY0" fmla="*/ 373129 h 402561"/>
                <a:gd name="connsiteX1" fmla="*/ 89486 w 264746"/>
                <a:gd name="connsiteY1" fmla="*/ 383511 h 402561"/>
                <a:gd name="connsiteX2" fmla="*/ 171782 w 264746"/>
                <a:gd name="connsiteY2" fmla="*/ 383511 h 402561"/>
                <a:gd name="connsiteX3" fmla="*/ 171782 w 264746"/>
                <a:gd name="connsiteY3" fmla="*/ 373129 h 402561"/>
                <a:gd name="connsiteX4" fmla="*/ 45766 w 264746"/>
                <a:gd name="connsiteY4" fmla="*/ 307978 h 402561"/>
                <a:gd name="connsiteX5" fmla="*/ 68626 w 264746"/>
                <a:gd name="connsiteY5" fmla="*/ 347888 h 402561"/>
                <a:gd name="connsiteX6" fmla="*/ 77484 w 264746"/>
                <a:gd name="connsiteY6" fmla="*/ 354079 h 402561"/>
                <a:gd name="connsiteX7" fmla="*/ 184545 w 264746"/>
                <a:gd name="connsiteY7" fmla="*/ 354079 h 402561"/>
                <a:gd name="connsiteX8" fmla="*/ 214359 w 264746"/>
                <a:gd name="connsiteY8" fmla="*/ 309026 h 402561"/>
                <a:gd name="connsiteX9" fmla="*/ 131586 w 264746"/>
                <a:gd name="connsiteY9" fmla="*/ 325409 h 402561"/>
                <a:gd name="connsiteX10" fmla="*/ 45766 w 264746"/>
                <a:gd name="connsiteY10" fmla="*/ 307978 h 402561"/>
                <a:gd name="connsiteX11" fmla="*/ 192547 w 264746"/>
                <a:gd name="connsiteY11" fmla="*/ 230635 h 402561"/>
                <a:gd name="connsiteX12" fmla="*/ 196642 w 264746"/>
                <a:gd name="connsiteY12" fmla="*/ 243493 h 402561"/>
                <a:gd name="connsiteX13" fmla="*/ 182831 w 264746"/>
                <a:gd name="connsiteY13" fmla="*/ 270163 h 402561"/>
                <a:gd name="connsiteX14" fmla="*/ 174354 w 264746"/>
                <a:gd name="connsiteY14" fmla="*/ 275307 h 402561"/>
                <a:gd name="connsiteX15" fmla="*/ 169972 w 264746"/>
                <a:gd name="connsiteY15" fmla="*/ 274259 h 402561"/>
                <a:gd name="connsiteX16" fmla="*/ 165877 w 264746"/>
                <a:gd name="connsiteY16" fmla="*/ 261400 h 402561"/>
                <a:gd name="connsiteX17" fmla="*/ 179688 w 264746"/>
                <a:gd name="connsiteY17" fmla="*/ 234730 h 402561"/>
                <a:gd name="connsiteX18" fmla="*/ 192547 w 264746"/>
                <a:gd name="connsiteY18" fmla="*/ 230635 h 402561"/>
                <a:gd name="connsiteX19" fmla="*/ 68626 w 264746"/>
                <a:gd name="connsiteY19" fmla="*/ 230635 h 402561"/>
                <a:gd name="connsiteX20" fmla="*/ 81485 w 264746"/>
                <a:gd name="connsiteY20" fmla="*/ 234730 h 402561"/>
                <a:gd name="connsiteX21" fmla="*/ 95296 w 264746"/>
                <a:gd name="connsiteY21" fmla="*/ 261400 h 402561"/>
                <a:gd name="connsiteX22" fmla="*/ 91201 w 264746"/>
                <a:gd name="connsiteY22" fmla="*/ 274259 h 402561"/>
                <a:gd name="connsiteX23" fmla="*/ 86819 w 264746"/>
                <a:gd name="connsiteY23" fmla="*/ 275307 h 402561"/>
                <a:gd name="connsiteX24" fmla="*/ 78342 w 264746"/>
                <a:gd name="connsiteY24" fmla="*/ 270163 h 402561"/>
                <a:gd name="connsiteX25" fmla="*/ 64531 w 264746"/>
                <a:gd name="connsiteY25" fmla="*/ 243493 h 402561"/>
                <a:gd name="connsiteX26" fmla="*/ 68626 w 264746"/>
                <a:gd name="connsiteY26" fmla="*/ 230635 h 402561"/>
                <a:gd name="connsiteX27" fmla="*/ 130730 w 264746"/>
                <a:gd name="connsiteY27" fmla="*/ 82152 h 402561"/>
                <a:gd name="connsiteX28" fmla="*/ 77294 w 264746"/>
                <a:gd name="connsiteY28" fmla="*/ 97476 h 402561"/>
                <a:gd name="connsiteX29" fmla="*/ 75008 w 264746"/>
                <a:gd name="connsiteY29" fmla="*/ 152911 h 402561"/>
                <a:gd name="connsiteX30" fmla="*/ 131206 w 264746"/>
                <a:gd name="connsiteY30" fmla="*/ 179867 h 402561"/>
                <a:gd name="connsiteX31" fmla="*/ 187689 w 264746"/>
                <a:gd name="connsiteY31" fmla="*/ 153102 h 402561"/>
                <a:gd name="connsiteX32" fmla="*/ 193785 w 264746"/>
                <a:gd name="connsiteY32" fmla="*/ 117764 h 402561"/>
                <a:gd name="connsiteX33" fmla="*/ 186927 w 264746"/>
                <a:gd name="connsiteY33" fmla="*/ 98714 h 402561"/>
                <a:gd name="connsiteX34" fmla="*/ 186451 w 264746"/>
                <a:gd name="connsiteY34" fmla="*/ 98333 h 402561"/>
                <a:gd name="connsiteX35" fmla="*/ 130730 w 264746"/>
                <a:gd name="connsiteY35" fmla="*/ 82152 h 402561"/>
                <a:gd name="connsiteX36" fmla="*/ 129503 w 264746"/>
                <a:gd name="connsiteY36" fmla="*/ 62757 h 402561"/>
                <a:gd name="connsiteX37" fmla="*/ 198166 w 264746"/>
                <a:gd name="connsiteY37" fmla="*/ 83188 h 402561"/>
                <a:gd name="connsiteX38" fmla="*/ 212549 w 264746"/>
                <a:gd name="connsiteY38" fmla="*/ 114144 h 402561"/>
                <a:gd name="connsiteX39" fmla="*/ 202834 w 264746"/>
                <a:gd name="connsiteY39" fmla="*/ 164532 h 402561"/>
                <a:gd name="connsiteX40" fmla="*/ 131872 w 264746"/>
                <a:gd name="connsiteY40" fmla="*/ 198917 h 402561"/>
                <a:gd name="connsiteX41" fmla="*/ 130539 w 264746"/>
                <a:gd name="connsiteY41" fmla="*/ 198917 h 402561"/>
                <a:gd name="connsiteX42" fmla="*/ 59863 w 264746"/>
                <a:gd name="connsiteY42" fmla="*/ 164436 h 402561"/>
                <a:gd name="connsiteX43" fmla="*/ 63197 w 264746"/>
                <a:gd name="connsiteY43" fmla="*/ 84617 h 402561"/>
                <a:gd name="connsiteX44" fmla="*/ 64054 w 264746"/>
                <a:gd name="connsiteY44" fmla="*/ 83760 h 402561"/>
                <a:gd name="connsiteX45" fmla="*/ 129503 w 264746"/>
                <a:gd name="connsiteY45" fmla="*/ 62757 h 402561"/>
                <a:gd name="connsiteX46" fmla="*/ 136063 w 264746"/>
                <a:gd name="connsiteY46" fmla="*/ 19085 h 402561"/>
                <a:gd name="connsiteX47" fmla="*/ 19572 w 264746"/>
                <a:gd name="connsiteY47" fmla="*/ 112811 h 402561"/>
                <a:gd name="connsiteX48" fmla="*/ 37575 w 264746"/>
                <a:gd name="connsiteY48" fmla="*/ 284451 h 402561"/>
                <a:gd name="connsiteX49" fmla="*/ 39289 w 264746"/>
                <a:gd name="connsiteY49" fmla="*/ 285023 h 402561"/>
                <a:gd name="connsiteX50" fmla="*/ 223122 w 264746"/>
                <a:gd name="connsiteY50" fmla="*/ 285118 h 402561"/>
                <a:gd name="connsiteX51" fmla="*/ 245696 w 264746"/>
                <a:gd name="connsiteY51" fmla="*/ 112906 h 402561"/>
                <a:gd name="connsiteX52" fmla="*/ 136063 w 264746"/>
                <a:gd name="connsiteY52" fmla="*/ 19085 h 402561"/>
                <a:gd name="connsiteX53" fmla="*/ 136825 w 264746"/>
                <a:gd name="connsiteY53" fmla="*/ 130 h 402561"/>
                <a:gd name="connsiteX54" fmla="*/ 264651 w 264746"/>
                <a:gd name="connsiteY54" fmla="*/ 110906 h 402561"/>
                <a:gd name="connsiteX55" fmla="*/ 264746 w 264746"/>
                <a:gd name="connsiteY55" fmla="*/ 112239 h 402561"/>
                <a:gd name="connsiteX56" fmla="*/ 190737 w 264746"/>
                <a:gd name="connsiteY56" fmla="*/ 371796 h 402561"/>
                <a:gd name="connsiteX57" fmla="*/ 190832 w 264746"/>
                <a:gd name="connsiteY57" fmla="*/ 372462 h 402561"/>
                <a:gd name="connsiteX58" fmla="*/ 190832 w 264746"/>
                <a:gd name="connsiteY58" fmla="*/ 383511 h 402561"/>
                <a:gd name="connsiteX59" fmla="*/ 247315 w 264746"/>
                <a:gd name="connsiteY59" fmla="*/ 383511 h 402561"/>
                <a:gd name="connsiteX60" fmla="*/ 256840 w 264746"/>
                <a:gd name="connsiteY60" fmla="*/ 393036 h 402561"/>
                <a:gd name="connsiteX61" fmla="*/ 247315 w 264746"/>
                <a:gd name="connsiteY61" fmla="*/ 402561 h 402561"/>
                <a:gd name="connsiteX62" fmla="*/ 15381 w 264746"/>
                <a:gd name="connsiteY62" fmla="*/ 402561 h 402561"/>
                <a:gd name="connsiteX63" fmla="*/ 5856 w 264746"/>
                <a:gd name="connsiteY63" fmla="*/ 393036 h 402561"/>
                <a:gd name="connsiteX64" fmla="*/ 15381 w 264746"/>
                <a:gd name="connsiteY64" fmla="*/ 383511 h 402561"/>
                <a:gd name="connsiteX65" fmla="*/ 70436 w 264746"/>
                <a:gd name="connsiteY65" fmla="*/ 383511 h 402561"/>
                <a:gd name="connsiteX66" fmla="*/ 70436 w 264746"/>
                <a:gd name="connsiteY66" fmla="*/ 372462 h 402561"/>
                <a:gd name="connsiteX67" fmla="*/ 70531 w 264746"/>
                <a:gd name="connsiteY67" fmla="*/ 371891 h 402561"/>
                <a:gd name="connsiteX68" fmla="*/ 54910 w 264746"/>
                <a:gd name="connsiteY68" fmla="*/ 361032 h 402561"/>
                <a:gd name="connsiteX69" fmla="*/ 522 w 264746"/>
                <a:gd name="connsiteY69" fmla="*/ 111191 h 402561"/>
                <a:gd name="connsiteX70" fmla="*/ 713 w 264746"/>
                <a:gd name="connsiteY70" fmla="*/ 109477 h 402561"/>
                <a:gd name="connsiteX71" fmla="*/ 136825 w 264746"/>
                <a:gd name="connsiteY71" fmla="*/ 130 h 402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64746" h="402561">
                  <a:moveTo>
                    <a:pt x="89486" y="373129"/>
                  </a:moveTo>
                  <a:lnTo>
                    <a:pt x="89486" y="383511"/>
                  </a:lnTo>
                  <a:lnTo>
                    <a:pt x="171782" y="383511"/>
                  </a:lnTo>
                  <a:lnTo>
                    <a:pt x="171782" y="373129"/>
                  </a:lnTo>
                  <a:close/>
                  <a:moveTo>
                    <a:pt x="45766" y="307978"/>
                  </a:moveTo>
                  <a:cubicBezTo>
                    <a:pt x="53767" y="327885"/>
                    <a:pt x="62054" y="341030"/>
                    <a:pt x="68626" y="347888"/>
                  </a:cubicBezTo>
                  <a:cubicBezTo>
                    <a:pt x="74436" y="353984"/>
                    <a:pt x="77484" y="354079"/>
                    <a:pt x="77484" y="354079"/>
                  </a:cubicBezTo>
                  <a:lnTo>
                    <a:pt x="184545" y="354079"/>
                  </a:lnTo>
                  <a:cubicBezTo>
                    <a:pt x="189498" y="351507"/>
                    <a:pt x="201976" y="338268"/>
                    <a:pt x="214359" y="309026"/>
                  </a:cubicBezTo>
                  <a:cubicBezTo>
                    <a:pt x="185022" y="319980"/>
                    <a:pt x="158352" y="325409"/>
                    <a:pt x="131586" y="325409"/>
                  </a:cubicBezTo>
                  <a:cubicBezTo>
                    <a:pt x="104059" y="325409"/>
                    <a:pt x="76437" y="319599"/>
                    <a:pt x="45766" y="307978"/>
                  </a:cubicBezTo>
                  <a:close/>
                  <a:moveTo>
                    <a:pt x="192547" y="230635"/>
                  </a:moveTo>
                  <a:cubicBezTo>
                    <a:pt x="197214" y="233016"/>
                    <a:pt x="199024" y="238826"/>
                    <a:pt x="196642" y="243493"/>
                  </a:cubicBezTo>
                  <a:lnTo>
                    <a:pt x="182831" y="270163"/>
                  </a:lnTo>
                  <a:cubicBezTo>
                    <a:pt x="181212" y="273402"/>
                    <a:pt x="177878" y="275307"/>
                    <a:pt x="174354" y="275307"/>
                  </a:cubicBezTo>
                  <a:cubicBezTo>
                    <a:pt x="172925" y="275307"/>
                    <a:pt x="171401" y="274926"/>
                    <a:pt x="169972" y="274259"/>
                  </a:cubicBezTo>
                  <a:cubicBezTo>
                    <a:pt x="165305" y="271878"/>
                    <a:pt x="163495" y="266068"/>
                    <a:pt x="165877" y="261400"/>
                  </a:cubicBezTo>
                  <a:lnTo>
                    <a:pt x="179688" y="234730"/>
                  </a:lnTo>
                  <a:cubicBezTo>
                    <a:pt x="182069" y="230063"/>
                    <a:pt x="187879" y="228253"/>
                    <a:pt x="192547" y="230635"/>
                  </a:cubicBezTo>
                  <a:close/>
                  <a:moveTo>
                    <a:pt x="68626" y="230635"/>
                  </a:moveTo>
                  <a:cubicBezTo>
                    <a:pt x="73294" y="228253"/>
                    <a:pt x="79009" y="230063"/>
                    <a:pt x="81485" y="234730"/>
                  </a:cubicBezTo>
                  <a:lnTo>
                    <a:pt x="95296" y="261400"/>
                  </a:lnTo>
                  <a:cubicBezTo>
                    <a:pt x="97678" y="266068"/>
                    <a:pt x="95868" y="271783"/>
                    <a:pt x="91201" y="274259"/>
                  </a:cubicBezTo>
                  <a:cubicBezTo>
                    <a:pt x="89772" y="274926"/>
                    <a:pt x="88343" y="275307"/>
                    <a:pt x="86819" y="275307"/>
                  </a:cubicBezTo>
                  <a:cubicBezTo>
                    <a:pt x="83390" y="275307"/>
                    <a:pt x="80056" y="273402"/>
                    <a:pt x="78342" y="270163"/>
                  </a:cubicBezTo>
                  <a:lnTo>
                    <a:pt x="64531" y="243493"/>
                  </a:lnTo>
                  <a:cubicBezTo>
                    <a:pt x="62149" y="238826"/>
                    <a:pt x="63959" y="233111"/>
                    <a:pt x="68626" y="230635"/>
                  </a:cubicBezTo>
                  <a:close/>
                  <a:moveTo>
                    <a:pt x="130730" y="82152"/>
                  </a:moveTo>
                  <a:cubicBezTo>
                    <a:pt x="109727" y="81998"/>
                    <a:pt x="89105" y="87094"/>
                    <a:pt x="77294" y="97476"/>
                  </a:cubicBezTo>
                  <a:cubicBezTo>
                    <a:pt x="70722" y="105858"/>
                    <a:pt x="63388" y="138052"/>
                    <a:pt x="75008" y="152911"/>
                  </a:cubicBezTo>
                  <a:cubicBezTo>
                    <a:pt x="95296" y="180153"/>
                    <a:pt x="130634" y="179962"/>
                    <a:pt x="131206" y="179867"/>
                  </a:cubicBezTo>
                  <a:cubicBezTo>
                    <a:pt x="132063" y="180057"/>
                    <a:pt x="167496" y="180248"/>
                    <a:pt x="187689" y="153102"/>
                  </a:cubicBezTo>
                  <a:cubicBezTo>
                    <a:pt x="193499" y="145577"/>
                    <a:pt x="195880" y="132051"/>
                    <a:pt x="193785" y="117764"/>
                  </a:cubicBezTo>
                  <a:cubicBezTo>
                    <a:pt x="192166" y="106620"/>
                    <a:pt x="188546" y="99857"/>
                    <a:pt x="186927" y="98714"/>
                  </a:cubicBezTo>
                  <a:cubicBezTo>
                    <a:pt x="186832" y="98619"/>
                    <a:pt x="186546" y="98428"/>
                    <a:pt x="186451" y="98333"/>
                  </a:cubicBezTo>
                  <a:cubicBezTo>
                    <a:pt x="173116" y="87713"/>
                    <a:pt x="151732" y="82307"/>
                    <a:pt x="130730" y="82152"/>
                  </a:cubicBezTo>
                  <a:close/>
                  <a:moveTo>
                    <a:pt x="129503" y="62757"/>
                  </a:moveTo>
                  <a:cubicBezTo>
                    <a:pt x="154875" y="62662"/>
                    <a:pt x="180783" y="69472"/>
                    <a:pt x="198166" y="83188"/>
                  </a:cubicBezTo>
                  <a:cubicBezTo>
                    <a:pt x="207977" y="90332"/>
                    <a:pt x="211501" y="107191"/>
                    <a:pt x="212549" y="114144"/>
                  </a:cubicBezTo>
                  <a:cubicBezTo>
                    <a:pt x="215597" y="133956"/>
                    <a:pt x="211978" y="152816"/>
                    <a:pt x="202834" y="164532"/>
                  </a:cubicBezTo>
                  <a:cubicBezTo>
                    <a:pt x="178259" y="197583"/>
                    <a:pt x="137968" y="198917"/>
                    <a:pt x="131872" y="198917"/>
                  </a:cubicBezTo>
                  <a:cubicBezTo>
                    <a:pt x="131206" y="198917"/>
                    <a:pt x="131301" y="198917"/>
                    <a:pt x="130539" y="198917"/>
                  </a:cubicBezTo>
                  <a:cubicBezTo>
                    <a:pt x="124919" y="198917"/>
                    <a:pt x="84533" y="197679"/>
                    <a:pt x="59863" y="164436"/>
                  </a:cubicBezTo>
                  <a:cubicBezTo>
                    <a:pt x="42052" y="141481"/>
                    <a:pt x="51481" y="98333"/>
                    <a:pt x="63197" y="84617"/>
                  </a:cubicBezTo>
                  <a:cubicBezTo>
                    <a:pt x="63483" y="84331"/>
                    <a:pt x="63769" y="84045"/>
                    <a:pt x="64054" y="83760"/>
                  </a:cubicBezTo>
                  <a:cubicBezTo>
                    <a:pt x="79294" y="69854"/>
                    <a:pt x="104131" y="62853"/>
                    <a:pt x="129503" y="62757"/>
                  </a:cubicBezTo>
                  <a:close/>
                  <a:moveTo>
                    <a:pt x="136063" y="19085"/>
                  </a:moveTo>
                  <a:cubicBezTo>
                    <a:pt x="90534" y="17180"/>
                    <a:pt x="36146" y="40897"/>
                    <a:pt x="19572" y="112811"/>
                  </a:cubicBezTo>
                  <a:cubicBezTo>
                    <a:pt x="16810" y="188535"/>
                    <a:pt x="25668" y="245208"/>
                    <a:pt x="37575" y="284451"/>
                  </a:cubicBezTo>
                  <a:cubicBezTo>
                    <a:pt x="38146" y="284642"/>
                    <a:pt x="38718" y="284832"/>
                    <a:pt x="39289" y="285023"/>
                  </a:cubicBezTo>
                  <a:cubicBezTo>
                    <a:pt x="107488" y="313503"/>
                    <a:pt x="155589" y="313503"/>
                    <a:pt x="223122" y="285118"/>
                  </a:cubicBezTo>
                  <a:cubicBezTo>
                    <a:pt x="235314" y="247399"/>
                    <a:pt x="245410" y="191868"/>
                    <a:pt x="245696" y="112906"/>
                  </a:cubicBezTo>
                  <a:cubicBezTo>
                    <a:pt x="236838" y="51279"/>
                    <a:pt x="182736" y="21085"/>
                    <a:pt x="136063" y="19085"/>
                  </a:cubicBezTo>
                  <a:close/>
                  <a:moveTo>
                    <a:pt x="136825" y="130"/>
                  </a:moveTo>
                  <a:cubicBezTo>
                    <a:pt x="191308" y="2321"/>
                    <a:pt x="254554" y="38039"/>
                    <a:pt x="264651" y="110906"/>
                  </a:cubicBezTo>
                  <a:cubicBezTo>
                    <a:pt x="264746" y="111382"/>
                    <a:pt x="264746" y="111858"/>
                    <a:pt x="264746" y="112239"/>
                  </a:cubicBezTo>
                  <a:cubicBezTo>
                    <a:pt x="264270" y="294453"/>
                    <a:pt x="212549" y="362080"/>
                    <a:pt x="190737" y="371796"/>
                  </a:cubicBezTo>
                  <a:cubicBezTo>
                    <a:pt x="190832" y="371986"/>
                    <a:pt x="190832" y="372272"/>
                    <a:pt x="190832" y="372462"/>
                  </a:cubicBezTo>
                  <a:lnTo>
                    <a:pt x="190832" y="383511"/>
                  </a:lnTo>
                  <a:lnTo>
                    <a:pt x="247315" y="383511"/>
                  </a:lnTo>
                  <a:cubicBezTo>
                    <a:pt x="252554" y="383511"/>
                    <a:pt x="256840" y="387798"/>
                    <a:pt x="256840" y="393036"/>
                  </a:cubicBezTo>
                  <a:cubicBezTo>
                    <a:pt x="256840" y="398275"/>
                    <a:pt x="252554" y="402561"/>
                    <a:pt x="247315" y="402561"/>
                  </a:cubicBezTo>
                  <a:lnTo>
                    <a:pt x="15381" y="402561"/>
                  </a:lnTo>
                  <a:cubicBezTo>
                    <a:pt x="10143" y="402561"/>
                    <a:pt x="5856" y="398275"/>
                    <a:pt x="5856" y="393036"/>
                  </a:cubicBezTo>
                  <a:cubicBezTo>
                    <a:pt x="5856" y="387798"/>
                    <a:pt x="10143" y="383511"/>
                    <a:pt x="15381" y="383511"/>
                  </a:cubicBezTo>
                  <a:lnTo>
                    <a:pt x="70436" y="383511"/>
                  </a:lnTo>
                  <a:lnTo>
                    <a:pt x="70436" y="372462"/>
                  </a:lnTo>
                  <a:cubicBezTo>
                    <a:pt x="70436" y="372272"/>
                    <a:pt x="70436" y="372081"/>
                    <a:pt x="70531" y="371891"/>
                  </a:cubicBezTo>
                  <a:cubicBezTo>
                    <a:pt x="65388" y="370176"/>
                    <a:pt x="60149" y="366557"/>
                    <a:pt x="54910" y="361032"/>
                  </a:cubicBezTo>
                  <a:cubicBezTo>
                    <a:pt x="24335" y="329409"/>
                    <a:pt x="-4240" y="239874"/>
                    <a:pt x="522" y="111191"/>
                  </a:cubicBezTo>
                  <a:cubicBezTo>
                    <a:pt x="522" y="110620"/>
                    <a:pt x="618" y="110048"/>
                    <a:pt x="713" y="109477"/>
                  </a:cubicBezTo>
                  <a:cubicBezTo>
                    <a:pt x="19668" y="25371"/>
                    <a:pt x="85866" y="-2156"/>
                    <a:pt x="136825" y="130"/>
                  </a:cubicBezTo>
                  <a:close/>
                </a:path>
              </a:pathLst>
            </a:custGeom>
            <a:solidFill>
              <a:srgbClr val="00A0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</p:grpSp>
      <p:grpSp>
        <p:nvGrpSpPr>
          <p:cNvPr id="100" name="easyIcon">
            <a:extLst>
              <a:ext uri="{FF2B5EF4-FFF2-40B4-BE49-F238E27FC236}">
                <a16:creationId xmlns:a16="http://schemas.microsoft.com/office/drawing/2014/main" id="{01E9AEB1-3ED9-43A9-9A9D-C67393C69D59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9939672" y="1364352"/>
            <a:ext cx="504000" cy="504000"/>
            <a:chOff x="4142860" y="2028765"/>
            <a:chExt cx="714051" cy="714050"/>
          </a:xfrm>
        </p:grpSpPr>
        <p:sp>
          <p:nvSpPr>
            <p:cNvPr id="101" name="Background">
              <a:extLst>
                <a:ext uri="{FF2B5EF4-FFF2-40B4-BE49-F238E27FC236}">
                  <a16:creationId xmlns:a16="http://schemas.microsoft.com/office/drawing/2014/main" id="{92111307-9B7B-4265-A0EB-0C1CA086E4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42860" y="2028765"/>
              <a:ext cx="714051" cy="71405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Vector">
              <a:extLst>
                <a:ext uri="{FF2B5EF4-FFF2-40B4-BE49-F238E27FC236}">
                  <a16:creationId xmlns:a16="http://schemas.microsoft.com/office/drawing/2014/main" id="{7148B333-8CBF-4D12-BC38-F5FE5957321D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gray">
            <a:xfrm>
              <a:off x="4211880" y="2146380"/>
              <a:ext cx="576001" cy="478831"/>
            </a:xfrm>
            <a:custGeom>
              <a:avLst/>
              <a:gdLst>
                <a:gd name="connsiteX0" fmla="*/ 208870 w 401943"/>
                <a:gd name="connsiteY0" fmla="*/ 334137 h 334136"/>
                <a:gd name="connsiteX1" fmla="*/ 146672 w 401943"/>
                <a:gd name="connsiteY1" fmla="*/ 334137 h 334136"/>
                <a:gd name="connsiteX2" fmla="*/ 138956 w 401943"/>
                <a:gd name="connsiteY2" fmla="*/ 330232 h 334136"/>
                <a:gd name="connsiteX3" fmla="*/ 137623 w 401943"/>
                <a:gd name="connsiteY3" fmla="*/ 321659 h 334136"/>
                <a:gd name="connsiteX4" fmla="*/ 174580 w 401943"/>
                <a:gd name="connsiteY4" fmla="*/ 206883 h 334136"/>
                <a:gd name="connsiteX5" fmla="*/ 89807 w 401943"/>
                <a:gd name="connsiteY5" fmla="*/ 206883 h 334136"/>
                <a:gd name="connsiteX6" fmla="*/ 63709 w 401943"/>
                <a:gd name="connsiteY6" fmla="*/ 236411 h 334136"/>
                <a:gd name="connsiteX7" fmla="*/ 56565 w 401943"/>
                <a:gd name="connsiteY7" fmla="*/ 239649 h 334136"/>
                <a:gd name="connsiteX8" fmla="*/ 9512 w 401943"/>
                <a:gd name="connsiteY8" fmla="*/ 239649 h 334136"/>
                <a:gd name="connsiteX9" fmla="*/ 1606 w 401943"/>
                <a:gd name="connsiteY9" fmla="*/ 235363 h 334136"/>
                <a:gd name="connsiteX10" fmla="*/ 749 w 401943"/>
                <a:gd name="connsiteY10" fmla="*/ 226409 h 334136"/>
                <a:gd name="connsiteX11" fmla="*/ 25418 w 401943"/>
                <a:gd name="connsiteY11" fmla="*/ 168402 h 334136"/>
                <a:gd name="connsiteX12" fmla="*/ 653 w 401943"/>
                <a:gd name="connsiteY12" fmla="*/ 105347 h 334136"/>
                <a:gd name="connsiteX13" fmla="*/ 1606 w 401943"/>
                <a:gd name="connsiteY13" fmla="*/ 96488 h 334136"/>
                <a:gd name="connsiteX14" fmla="*/ 9512 w 401943"/>
                <a:gd name="connsiteY14" fmla="*/ 92297 h 334136"/>
                <a:gd name="connsiteX15" fmla="*/ 54279 w 401943"/>
                <a:gd name="connsiteY15" fmla="*/ 92297 h 334136"/>
                <a:gd name="connsiteX16" fmla="*/ 61328 w 401943"/>
                <a:gd name="connsiteY16" fmla="*/ 95441 h 334136"/>
                <a:gd name="connsiteX17" fmla="*/ 90665 w 401943"/>
                <a:gd name="connsiteY17" fmla="*/ 127826 h 334136"/>
                <a:gd name="connsiteX18" fmla="*/ 174580 w 401943"/>
                <a:gd name="connsiteY18" fmla="*/ 127826 h 334136"/>
                <a:gd name="connsiteX19" fmla="*/ 139623 w 401943"/>
                <a:gd name="connsiteY19" fmla="*/ 12287 h 334136"/>
                <a:gd name="connsiteX20" fmla="*/ 141052 w 401943"/>
                <a:gd name="connsiteY20" fmla="*/ 3810 h 334136"/>
                <a:gd name="connsiteX21" fmla="*/ 148672 w 401943"/>
                <a:gd name="connsiteY21" fmla="*/ 0 h 334136"/>
                <a:gd name="connsiteX22" fmla="*/ 206012 w 401943"/>
                <a:gd name="connsiteY22" fmla="*/ 0 h 334136"/>
                <a:gd name="connsiteX23" fmla="*/ 214490 w 401943"/>
                <a:gd name="connsiteY23" fmla="*/ 5239 h 334136"/>
                <a:gd name="connsiteX24" fmla="*/ 276783 w 401943"/>
                <a:gd name="connsiteY24" fmla="*/ 127826 h 334136"/>
                <a:gd name="connsiteX25" fmla="*/ 365366 w 401943"/>
                <a:gd name="connsiteY25" fmla="*/ 127826 h 334136"/>
                <a:gd name="connsiteX26" fmla="*/ 367556 w 401943"/>
                <a:gd name="connsiteY26" fmla="*/ 128111 h 334136"/>
                <a:gd name="connsiteX27" fmla="*/ 401942 w 401943"/>
                <a:gd name="connsiteY27" fmla="*/ 166497 h 334136"/>
                <a:gd name="connsiteX28" fmla="*/ 367842 w 401943"/>
                <a:gd name="connsiteY28" fmla="*/ 206597 h 334136"/>
                <a:gd name="connsiteX29" fmla="*/ 365461 w 401943"/>
                <a:gd name="connsiteY29" fmla="*/ 206883 h 334136"/>
                <a:gd name="connsiteX30" fmla="*/ 276974 w 401943"/>
                <a:gd name="connsiteY30" fmla="*/ 206883 h 334136"/>
                <a:gd name="connsiteX31" fmla="*/ 217347 w 401943"/>
                <a:gd name="connsiteY31" fmla="*/ 328803 h 334136"/>
                <a:gd name="connsiteX32" fmla="*/ 208870 w 401943"/>
                <a:gd name="connsiteY32" fmla="*/ 334137 h 334136"/>
                <a:gd name="connsiteX33" fmla="*/ 159626 w 401943"/>
                <a:gd name="connsiteY33" fmla="*/ 315087 h 334136"/>
                <a:gd name="connsiteX34" fmla="*/ 202869 w 401943"/>
                <a:gd name="connsiteY34" fmla="*/ 315087 h 334136"/>
                <a:gd name="connsiteX35" fmla="*/ 262496 w 401943"/>
                <a:gd name="connsiteY35" fmla="*/ 193167 h 334136"/>
                <a:gd name="connsiteX36" fmla="*/ 271068 w 401943"/>
                <a:gd name="connsiteY36" fmla="*/ 187833 h 334136"/>
                <a:gd name="connsiteX37" fmla="*/ 364223 w 401943"/>
                <a:gd name="connsiteY37" fmla="*/ 187833 h 334136"/>
                <a:gd name="connsiteX38" fmla="*/ 382987 w 401943"/>
                <a:gd name="connsiteY38" fmla="*/ 166688 h 334136"/>
                <a:gd name="connsiteX39" fmla="*/ 364318 w 401943"/>
                <a:gd name="connsiteY39" fmla="*/ 146876 h 334136"/>
                <a:gd name="connsiteX40" fmla="*/ 271068 w 401943"/>
                <a:gd name="connsiteY40" fmla="*/ 146876 h 334136"/>
                <a:gd name="connsiteX41" fmla="*/ 262591 w 401943"/>
                <a:gd name="connsiteY41" fmla="*/ 141637 h 334136"/>
                <a:gd name="connsiteX42" fmla="*/ 200297 w 401943"/>
                <a:gd name="connsiteY42" fmla="*/ 19050 h 334136"/>
                <a:gd name="connsiteX43" fmla="*/ 161626 w 401943"/>
                <a:gd name="connsiteY43" fmla="*/ 19050 h 334136"/>
                <a:gd name="connsiteX44" fmla="*/ 196678 w 401943"/>
                <a:gd name="connsiteY44" fmla="*/ 134493 h 334136"/>
                <a:gd name="connsiteX45" fmla="*/ 195249 w 401943"/>
                <a:gd name="connsiteY45" fmla="*/ 142970 h 334136"/>
                <a:gd name="connsiteX46" fmla="*/ 187629 w 401943"/>
                <a:gd name="connsiteY46" fmla="*/ 146780 h 334136"/>
                <a:gd name="connsiteX47" fmla="*/ 86664 w 401943"/>
                <a:gd name="connsiteY47" fmla="*/ 146780 h 334136"/>
                <a:gd name="connsiteX48" fmla="*/ 79616 w 401943"/>
                <a:gd name="connsiteY48" fmla="*/ 143637 h 334136"/>
                <a:gd name="connsiteX49" fmla="*/ 50279 w 401943"/>
                <a:gd name="connsiteY49" fmla="*/ 111252 h 334136"/>
                <a:gd name="connsiteX50" fmla="*/ 23513 w 401943"/>
                <a:gd name="connsiteY50" fmla="*/ 111252 h 334136"/>
                <a:gd name="connsiteX51" fmla="*/ 44659 w 401943"/>
                <a:gd name="connsiteY51" fmla="*/ 164973 h 334136"/>
                <a:gd name="connsiteX52" fmla="*/ 44564 w 401943"/>
                <a:gd name="connsiteY52" fmla="*/ 172212 h 334136"/>
                <a:gd name="connsiteX53" fmla="*/ 23990 w 401943"/>
                <a:gd name="connsiteY53" fmla="*/ 220599 h 334136"/>
                <a:gd name="connsiteX54" fmla="*/ 52279 w 401943"/>
                <a:gd name="connsiteY54" fmla="*/ 220599 h 334136"/>
                <a:gd name="connsiteX55" fmla="*/ 78377 w 401943"/>
                <a:gd name="connsiteY55" fmla="*/ 191072 h 334136"/>
                <a:gd name="connsiteX56" fmla="*/ 85521 w 401943"/>
                <a:gd name="connsiteY56" fmla="*/ 187833 h 334136"/>
                <a:gd name="connsiteX57" fmla="*/ 187629 w 401943"/>
                <a:gd name="connsiteY57" fmla="*/ 187833 h 334136"/>
                <a:gd name="connsiteX58" fmla="*/ 195344 w 401943"/>
                <a:gd name="connsiteY58" fmla="*/ 191738 h 334136"/>
                <a:gd name="connsiteX59" fmla="*/ 196678 w 401943"/>
                <a:gd name="connsiteY59" fmla="*/ 200311 h 334136"/>
                <a:gd name="connsiteX60" fmla="*/ 159626 w 401943"/>
                <a:gd name="connsiteY60" fmla="*/ 315087 h 334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01943" h="334136">
                  <a:moveTo>
                    <a:pt x="208870" y="334137"/>
                  </a:moveTo>
                  <a:lnTo>
                    <a:pt x="146672" y="334137"/>
                  </a:lnTo>
                  <a:cubicBezTo>
                    <a:pt x="143624" y="334137"/>
                    <a:pt x="140766" y="332708"/>
                    <a:pt x="138956" y="330232"/>
                  </a:cubicBezTo>
                  <a:cubicBezTo>
                    <a:pt x="137147" y="327755"/>
                    <a:pt x="136670" y="324612"/>
                    <a:pt x="137623" y="321659"/>
                  </a:cubicBezTo>
                  <a:lnTo>
                    <a:pt x="174580" y="206883"/>
                  </a:lnTo>
                  <a:lnTo>
                    <a:pt x="89807" y="206883"/>
                  </a:lnTo>
                  <a:lnTo>
                    <a:pt x="63709" y="236411"/>
                  </a:lnTo>
                  <a:cubicBezTo>
                    <a:pt x="61899" y="238411"/>
                    <a:pt x="59327" y="239649"/>
                    <a:pt x="56565" y="239649"/>
                  </a:cubicBezTo>
                  <a:lnTo>
                    <a:pt x="9512" y="239649"/>
                  </a:lnTo>
                  <a:cubicBezTo>
                    <a:pt x="6273" y="239649"/>
                    <a:pt x="3320" y="238030"/>
                    <a:pt x="1606" y="235363"/>
                  </a:cubicBezTo>
                  <a:cubicBezTo>
                    <a:pt x="-109" y="232696"/>
                    <a:pt x="-490" y="229362"/>
                    <a:pt x="749" y="226409"/>
                  </a:cubicBezTo>
                  <a:lnTo>
                    <a:pt x="25418" y="168402"/>
                  </a:lnTo>
                  <a:lnTo>
                    <a:pt x="653" y="105347"/>
                  </a:lnTo>
                  <a:cubicBezTo>
                    <a:pt x="-490" y="102394"/>
                    <a:pt x="-109" y="99060"/>
                    <a:pt x="1606" y="96488"/>
                  </a:cubicBezTo>
                  <a:cubicBezTo>
                    <a:pt x="3416" y="93917"/>
                    <a:pt x="6368" y="92297"/>
                    <a:pt x="9512" y="92297"/>
                  </a:cubicBezTo>
                  <a:lnTo>
                    <a:pt x="54279" y="92297"/>
                  </a:lnTo>
                  <a:cubicBezTo>
                    <a:pt x="56946" y="92297"/>
                    <a:pt x="59518" y="93440"/>
                    <a:pt x="61328" y="95441"/>
                  </a:cubicBezTo>
                  <a:lnTo>
                    <a:pt x="90665" y="127826"/>
                  </a:lnTo>
                  <a:lnTo>
                    <a:pt x="174580" y="127826"/>
                  </a:lnTo>
                  <a:lnTo>
                    <a:pt x="139623" y="12287"/>
                  </a:lnTo>
                  <a:cubicBezTo>
                    <a:pt x="138766" y="9430"/>
                    <a:pt x="139337" y="6286"/>
                    <a:pt x="141052" y="3810"/>
                  </a:cubicBezTo>
                  <a:cubicBezTo>
                    <a:pt x="142766" y="1333"/>
                    <a:pt x="145719" y="0"/>
                    <a:pt x="148672" y="0"/>
                  </a:cubicBezTo>
                  <a:lnTo>
                    <a:pt x="206012" y="0"/>
                  </a:lnTo>
                  <a:cubicBezTo>
                    <a:pt x="209632" y="0"/>
                    <a:pt x="212870" y="2000"/>
                    <a:pt x="214490" y="5239"/>
                  </a:cubicBezTo>
                  <a:lnTo>
                    <a:pt x="276783" y="127826"/>
                  </a:lnTo>
                  <a:lnTo>
                    <a:pt x="365366" y="127826"/>
                  </a:lnTo>
                  <a:cubicBezTo>
                    <a:pt x="366128" y="127826"/>
                    <a:pt x="366890" y="127921"/>
                    <a:pt x="367556" y="128111"/>
                  </a:cubicBezTo>
                  <a:cubicBezTo>
                    <a:pt x="388226" y="133064"/>
                    <a:pt x="401656" y="148114"/>
                    <a:pt x="401942" y="166497"/>
                  </a:cubicBezTo>
                  <a:cubicBezTo>
                    <a:pt x="402132" y="185071"/>
                    <a:pt x="388416" y="201263"/>
                    <a:pt x="367842" y="206597"/>
                  </a:cubicBezTo>
                  <a:cubicBezTo>
                    <a:pt x="367080" y="206788"/>
                    <a:pt x="366223" y="206883"/>
                    <a:pt x="365461" y="206883"/>
                  </a:cubicBezTo>
                  <a:lnTo>
                    <a:pt x="276974" y="206883"/>
                  </a:lnTo>
                  <a:lnTo>
                    <a:pt x="217347" y="328803"/>
                  </a:lnTo>
                  <a:cubicBezTo>
                    <a:pt x="215823" y="332042"/>
                    <a:pt x="212489" y="334137"/>
                    <a:pt x="208870" y="334137"/>
                  </a:cubicBezTo>
                  <a:close/>
                  <a:moveTo>
                    <a:pt x="159626" y="315087"/>
                  </a:moveTo>
                  <a:lnTo>
                    <a:pt x="202869" y="315087"/>
                  </a:lnTo>
                  <a:lnTo>
                    <a:pt x="262496" y="193167"/>
                  </a:lnTo>
                  <a:cubicBezTo>
                    <a:pt x="264115" y="189928"/>
                    <a:pt x="267449" y="187833"/>
                    <a:pt x="271068" y="187833"/>
                  </a:cubicBezTo>
                  <a:lnTo>
                    <a:pt x="364223" y="187833"/>
                  </a:lnTo>
                  <a:cubicBezTo>
                    <a:pt x="375748" y="184404"/>
                    <a:pt x="383082" y="176213"/>
                    <a:pt x="382987" y="166688"/>
                  </a:cubicBezTo>
                  <a:cubicBezTo>
                    <a:pt x="382892" y="157448"/>
                    <a:pt x="375748" y="149924"/>
                    <a:pt x="364318" y="146876"/>
                  </a:cubicBezTo>
                  <a:lnTo>
                    <a:pt x="271068" y="146876"/>
                  </a:lnTo>
                  <a:cubicBezTo>
                    <a:pt x="267449" y="146876"/>
                    <a:pt x="264210" y="144875"/>
                    <a:pt x="262591" y="141637"/>
                  </a:cubicBezTo>
                  <a:lnTo>
                    <a:pt x="200297" y="19050"/>
                  </a:lnTo>
                  <a:lnTo>
                    <a:pt x="161626" y="19050"/>
                  </a:lnTo>
                  <a:lnTo>
                    <a:pt x="196678" y="134493"/>
                  </a:lnTo>
                  <a:cubicBezTo>
                    <a:pt x="197535" y="137351"/>
                    <a:pt x="196964" y="140494"/>
                    <a:pt x="195249" y="142970"/>
                  </a:cubicBezTo>
                  <a:cubicBezTo>
                    <a:pt x="193535" y="145447"/>
                    <a:pt x="190582" y="146780"/>
                    <a:pt x="187629" y="146780"/>
                  </a:cubicBezTo>
                  <a:lnTo>
                    <a:pt x="86664" y="146780"/>
                  </a:lnTo>
                  <a:cubicBezTo>
                    <a:pt x="83997" y="146780"/>
                    <a:pt x="81425" y="145637"/>
                    <a:pt x="79616" y="143637"/>
                  </a:cubicBezTo>
                  <a:lnTo>
                    <a:pt x="50279" y="111252"/>
                  </a:lnTo>
                  <a:lnTo>
                    <a:pt x="23513" y="111252"/>
                  </a:lnTo>
                  <a:lnTo>
                    <a:pt x="44659" y="164973"/>
                  </a:lnTo>
                  <a:cubicBezTo>
                    <a:pt x="45611" y="167259"/>
                    <a:pt x="45516" y="169926"/>
                    <a:pt x="44564" y="172212"/>
                  </a:cubicBezTo>
                  <a:lnTo>
                    <a:pt x="23990" y="220599"/>
                  </a:lnTo>
                  <a:lnTo>
                    <a:pt x="52279" y="220599"/>
                  </a:lnTo>
                  <a:lnTo>
                    <a:pt x="78377" y="191072"/>
                  </a:lnTo>
                  <a:cubicBezTo>
                    <a:pt x="80187" y="189071"/>
                    <a:pt x="82759" y="187833"/>
                    <a:pt x="85521" y="187833"/>
                  </a:cubicBezTo>
                  <a:lnTo>
                    <a:pt x="187629" y="187833"/>
                  </a:lnTo>
                  <a:cubicBezTo>
                    <a:pt x="190677" y="187833"/>
                    <a:pt x="193535" y="189262"/>
                    <a:pt x="195344" y="191738"/>
                  </a:cubicBezTo>
                  <a:cubicBezTo>
                    <a:pt x="197154" y="194215"/>
                    <a:pt x="197630" y="197358"/>
                    <a:pt x="196678" y="200311"/>
                  </a:cubicBezTo>
                  <a:lnTo>
                    <a:pt x="159626" y="315087"/>
                  </a:lnTo>
                  <a:close/>
                </a:path>
              </a:pathLst>
            </a:custGeom>
            <a:solidFill>
              <a:srgbClr val="64697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+mn-cs"/>
              </a:endParaRPr>
            </a:p>
          </p:txBody>
        </p:sp>
      </p:grp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F4029CB3-C4F9-4274-9B54-3B84F823CDE4}"/>
              </a:ext>
            </a:extLst>
          </p:cNvPr>
          <p:cNvCxnSpPr>
            <a:cxnSpLocks/>
          </p:cNvCxnSpPr>
          <p:nvPr/>
        </p:nvCxnSpPr>
        <p:spPr>
          <a:xfrm>
            <a:off x="4242394" y="1431640"/>
            <a:ext cx="0" cy="4966173"/>
          </a:xfrm>
          <a:prstGeom prst="line">
            <a:avLst/>
          </a:prstGeom>
          <a:ln w="12700">
            <a:solidFill>
              <a:srgbClr val="D7DC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easyMap_PLZ_DE">
            <a:extLst>
              <a:ext uri="{FF2B5EF4-FFF2-40B4-BE49-F238E27FC236}">
                <a16:creationId xmlns:a16="http://schemas.microsoft.com/office/drawing/2014/main" id="{59EF62EB-60DA-4F18-9A50-A64BA30E5FBB}"/>
              </a:ext>
            </a:extLst>
          </p:cNvPr>
          <p:cNvGrpSpPr/>
          <p:nvPr/>
        </p:nvGrpSpPr>
        <p:grpSpPr>
          <a:xfrm>
            <a:off x="673195" y="1789128"/>
            <a:ext cx="3151345" cy="4255020"/>
            <a:chOff x="393795" y="1789128"/>
            <a:chExt cx="3151345" cy="4255020"/>
          </a:xfrm>
        </p:grpSpPr>
        <p:sp>
          <p:nvSpPr>
            <p:cNvPr id="22" name="_Map_Schleswig Holstein">
              <a:extLst>
                <a:ext uri="{FF2B5EF4-FFF2-40B4-BE49-F238E27FC236}">
                  <a16:creationId xmlns:a16="http://schemas.microsoft.com/office/drawing/2014/main" id="{57A7D3CA-A1D9-4D0D-A218-BA19E8B5D9C2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1232280" y="1789128"/>
              <a:ext cx="1012931" cy="969954"/>
            </a:xfrm>
            <a:custGeom>
              <a:avLst/>
              <a:gdLst>
                <a:gd name="connsiteX0" fmla="*/ 61912 w 1144138"/>
                <a:gd name="connsiteY0" fmla="*/ 167954 h 1095594"/>
                <a:gd name="connsiteX1" fmla="*/ 123825 w 1144138"/>
                <a:gd name="connsiteY1" fmla="*/ 172717 h 1095594"/>
                <a:gd name="connsiteX2" fmla="*/ 83343 w 1144138"/>
                <a:gd name="connsiteY2" fmla="*/ 229867 h 1095594"/>
                <a:gd name="connsiteX3" fmla="*/ 42862 w 1144138"/>
                <a:gd name="connsiteY3" fmla="*/ 203673 h 1095594"/>
                <a:gd name="connsiteX4" fmla="*/ 209757 w 1144138"/>
                <a:gd name="connsiteY4" fmla="*/ 54181 h 1095594"/>
                <a:gd name="connsiteX5" fmla="*/ 362309 w 1144138"/>
                <a:gd name="connsiteY5" fmla="*/ 98676 h 1095594"/>
                <a:gd name="connsiteX6" fmla="*/ 406803 w 1144138"/>
                <a:gd name="connsiteY6" fmla="*/ 130457 h 1095594"/>
                <a:gd name="connsiteX7" fmla="*/ 508505 w 1144138"/>
                <a:gd name="connsiteY7" fmla="*/ 54181 h 1095594"/>
                <a:gd name="connsiteX8" fmla="*/ 533930 w 1144138"/>
                <a:gd name="connsiteY8" fmla="*/ 92319 h 1095594"/>
                <a:gd name="connsiteX9" fmla="*/ 603850 w 1144138"/>
                <a:gd name="connsiteY9" fmla="*/ 130457 h 1095594"/>
                <a:gd name="connsiteX10" fmla="*/ 680126 w 1144138"/>
                <a:gd name="connsiteY10" fmla="*/ 143170 h 1095594"/>
                <a:gd name="connsiteX11" fmla="*/ 629275 w 1144138"/>
                <a:gd name="connsiteY11" fmla="*/ 352929 h 1095594"/>
                <a:gd name="connsiteX12" fmla="*/ 737333 w 1144138"/>
                <a:gd name="connsiteY12" fmla="*/ 340217 h 1095594"/>
                <a:gd name="connsiteX13" fmla="*/ 737333 w 1144138"/>
                <a:gd name="connsiteY13" fmla="*/ 441918 h 1095594"/>
                <a:gd name="connsiteX14" fmla="*/ 781827 w 1144138"/>
                <a:gd name="connsiteY14" fmla="*/ 371998 h 1095594"/>
                <a:gd name="connsiteX15" fmla="*/ 870816 w 1144138"/>
                <a:gd name="connsiteY15" fmla="*/ 410136 h 1095594"/>
                <a:gd name="connsiteX16" fmla="*/ 985230 w 1144138"/>
                <a:gd name="connsiteY16" fmla="*/ 473700 h 1095594"/>
                <a:gd name="connsiteX17" fmla="*/ 1029724 w 1144138"/>
                <a:gd name="connsiteY17" fmla="*/ 422849 h 1095594"/>
                <a:gd name="connsiteX18" fmla="*/ 1080575 w 1144138"/>
                <a:gd name="connsiteY18" fmla="*/ 384711 h 1095594"/>
                <a:gd name="connsiteX19" fmla="*/ 1055149 w 1144138"/>
                <a:gd name="connsiteY19" fmla="*/ 365642 h 1095594"/>
                <a:gd name="connsiteX20" fmla="*/ 1067862 w 1144138"/>
                <a:gd name="connsiteY20" fmla="*/ 308435 h 1095594"/>
                <a:gd name="connsiteX21" fmla="*/ 1118713 w 1144138"/>
                <a:gd name="connsiteY21" fmla="*/ 321147 h 1095594"/>
                <a:gd name="connsiteX22" fmla="*/ 1144138 w 1144138"/>
                <a:gd name="connsiteY22" fmla="*/ 378354 h 1095594"/>
                <a:gd name="connsiteX23" fmla="*/ 1099644 w 1144138"/>
                <a:gd name="connsiteY23" fmla="*/ 416492 h 1095594"/>
                <a:gd name="connsiteX24" fmla="*/ 1086931 w 1144138"/>
                <a:gd name="connsiteY24" fmla="*/ 524551 h 1095594"/>
                <a:gd name="connsiteX25" fmla="*/ 966161 w 1144138"/>
                <a:gd name="connsiteY25" fmla="*/ 600826 h 1095594"/>
                <a:gd name="connsiteX26" fmla="*/ 934379 w 1144138"/>
                <a:gd name="connsiteY26" fmla="*/ 658034 h 1095594"/>
                <a:gd name="connsiteX27" fmla="*/ 997942 w 1144138"/>
                <a:gd name="connsiteY27" fmla="*/ 677103 h 1095594"/>
                <a:gd name="connsiteX28" fmla="*/ 1000736 w 1144138"/>
                <a:gd name="connsiteY28" fmla="*/ 677103 h 1095594"/>
                <a:gd name="connsiteX29" fmla="*/ 1009114 w 1144138"/>
                <a:gd name="connsiteY29" fmla="*/ 689071 h 1095594"/>
                <a:gd name="connsiteX30" fmla="*/ 1011687 w 1144138"/>
                <a:gd name="connsiteY30" fmla="*/ 722519 h 1095594"/>
                <a:gd name="connsiteX31" fmla="*/ 957656 w 1144138"/>
                <a:gd name="connsiteY31" fmla="*/ 773978 h 1095594"/>
                <a:gd name="connsiteX32" fmla="*/ 967947 w 1144138"/>
                <a:gd name="connsiteY32" fmla="*/ 851166 h 1095594"/>
                <a:gd name="connsiteX33" fmla="*/ 1024552 w 1144138"/>
                <a:gd name="connsiteY33" fmla="*/ 864031 h 1095594"/>
                <a:gd name="connsiteX34" fmla="*/ 1034843 w 1144138"/>
                <a:gd name="connsiteY34" fmla="*/ 892333 h 1095594"/>
                <a:gd name="connsiteX35" fmla="*/ 1016833 w 1144138"/>
                <a:gd name="connsiteY35" fmla="*/ 954083 h 1095594"/>
                <a:gd name="connsiteX36" fmla="*/ 985958 w 1144138"/>
                <a:gd name="connsiteY36" fmla="*/ 954083 h 1095594"/>
                <a:gd name="connsiteX37" fmla="*/ 985958 w 1144138"/>
                <a:gd name="connsiteY37" fmla="*/ 995250 h 1095594"/>
                <a:gd name="connsiteX38" fmla="*/ 911343 w 1144138"/>
                <a:gd name="connsiteY38" fmla="*/ 1031271 h 1095594"/>
                <a:gd name="connsiteX39" fmla="*/ 903624 w 1144138"/>
                <a:gd name="connsiteY39" fmla="*/ 1095594 h 1095594"/>
                <a:gd name="connsiteX40" fmla="*/ 787842 w 1144138"/>
                <a:gd name="connsiteY40" fmla="*/ 1059573 h 1095594"/>
                <a:gd name="connsiteX41" fmla="*/ 769824 w 1144138"/>
                <a:gd name="connsiteY41" fmla="*/ 1051038 h 1095594"/>
                <a:gd name="connsiteX42" fmla="*/ 789129 w 1144138"/>
                <a:gd name="connsiteY42" fmla="*/ 1036739 h 1095594"/>
                <a:gd name="connsiteX43" fmla="*/ 766937 w 1144138"/>
                <a:gd name="connsiteY43" fmla="*/ 1027090 h 1095594"/>
                <a:gd name="connsiteX44" fmla="*/ 744746 w 1144138"/>
                <a:gd name="connsiteY44" fmla="*/ 992355 h 1095594"/>
                <a:gd name="connsiteX45" fmla="*/ 729308 w 1144138"/>
                <a:gd name="connsiteY45" fmla="*/ 993320 h 1095594"/>
                <a:gd name="connsiteX46" fmla="*/ 722554 w 1144138"/>
                <a:gd name="connsiteY46" fmla="*/ 963410 h 1095594"/>
                <a:gd name="connsiteX47" fmla="*/ 713871 w 1144138"/>
                <a:gd name="connsiteY47" fmla="*/ 959551 h 1095594"/>
                <a:gd name="connsiteX48" fmla="*/ 721590 w 1144138"/>
                <a:gd name="connsiteY48" fmla="*/ 950867 h 1095594"/>
                <a:gd name="connsiteX49" fmla="*/ 737027 w 1144138"/>
                <a:gd name="connsiteY49" fmla="*/ 950867 h 1095594"/>
                <a:gd name="connsiteX50" fmla="*/ 749570 w 1144138"/>
                <a:gd name="connsiteY50" fmla="*/ 915167 h 1095594"/>
                <a:gd name="connsiteX51" fmla="*/ 737027 w 1144138"/>
                <a:gd name="connsiteY51" fmla="*/ 914203 h 1095594"/>
                <a:gd name="connsiteX52" fmla="*/ 739921 w 1144138"/>
                <a:gd name="connsiteY52" fmla="*/ 902624 h 1095594"/>
                <a:gd name="connsiteX53" fmla="*/ 717730 w 1144138"/>
                <a:gd name="connsiteY53" fmla="*/ 888152 h 1095594"/>
                <a:gd name="connsiteX54" fmla="*/ 738957 w 1144138"/>
                <a:gd name="connsiteY54" fmla="*/ 852452 h 1095594"/>
                <a:gd name="connsiteX55" fmla="*/ 731238 w 1144138"/>
                <a:gd name="connsiteY55" fmla="*/ 846663 h 1095594"/>
                <a:gd name="connsiteX56" fmla="*/ 710011 w 1144138"/>
                <a:gd name="connsiteY56" fmla="*/ 865960 h 1095594"/>
                <a:gd name="connsiteX57" fmla="*/ 691679 w 1144138"/>
                <a:gd name="connsiteY57" fmla="*/ 864995 h 1095594"/>
                <a:gd name="connsiteX58" fmla="*/ 682031 w 1144138"/>
                <a:gd name="connsiteY58" fmla="*/ 886222 h 1095594"/>
                <a:gd name="connsiteX59" fmla="*/ 658874 w 1144138"/>
                <a:gd name="connsiteY59" fmla="*/ 885257 h 1095594"/>
                <a:gd name="connsiteX60" fmla="*/ 655015 w 1144138"/>
                <a:gd name="connsiteY60" fmla="*/ 907449 h 1095594"/>
                <a:gd name="connsiteX61" fmla="*/ 627999 w 1144138"/>
                <a:gd name="connsiteY61" fmla="*/ 903589 h 1095594"/>
                <a:gd name="connsiteX62" fmla="*/ 594230 w 1144138"/>
                <a:gd name="connsiteY62" fmla="*/ 947972 h 1095594"/>
                <a:gd name="connsiteX63" fmla="*/ 571073 w 1144138"/>
                <a:gd name="connsiteY63" fmla="*/ 916133 h 1095594"/>
                <a:gd name="connsiteX64" fmla="*/ 558711 w 1144138"/>
                <a:gd name="connsiteY64" fmla="*/ 951038 h 1095594"/>
                <a:gd name="connsiteX65" fmla="*/ 494529 w 1144138"/>
                <a:gd name="connsiteY65" fmla="*/ 920635 h 1095594"/>
                <a:gd name="connsiteX66" fmla="*/ 429131 w 1144138"/>
                <a:gd name="connsiteY66" fmla="*/ 802416 h 1095594"/>
                <a:gd name="connsiteX67" fmla="*/ 376355 w 1144138"/>
                <a:gd name="connsiteY67" fmla="*/ 773525 h 1095594"/>
                <a:gd name="connsiteX68" fmla="*/ 368666 w 1144138"/>
                <a:gd name="connsiteY68" fmla="*/ 740666 h 1095594"/>
                <a:gd name="connsiteX69" fmla="*/ 266964 w 1144138"/>
                <a:gd name="connsiteY69" fmla="*/ 740666 h 1095594"/>
                <a:gd name="connsiteX70" fmla="*/ 203401 w 1144138"/>
                <a:gd name="connsiteY70" fmla="*/ 645321 h 1095594"/>
                <a:gd name="connsiteX71" fmla="*/ 260608 w 1144138"/>
                <a:gd name="connsiteY71" fmla="*/ 619896 h 1095594"/>
                <a:gd name="connsiteX72" fmla="*/ 171620 w 1144138"/>
                <a:gd name="connsiteY72" fmla="*/ 562688 h 1095594"/>
                <a:gd name="connsiteX73" fmla="*/ 203401 w 1144138"/>
                <a:gd name="connsiteY73" fmla="*/ 480056 h 1095594"/>
                <a:gd name="connsiteX74" fmla="*/ 127125 w 1144138"/>
                <a:gd name="connsiteY74" fmla="*/ 499125 h 1095594"/>
                <a:gd name="connsiteX75" fmla="*/ 108056 w 1144138"/>
                <a:gd name="connsiteY75" fmla="*/ 429205 h 1095594"/>
                <a:gd name="connsiteX76" fmla="*/ 241539 w 1144138"/>
                <a:gd name="connsiteY76" fmla="*/ 397424 h 1095594"/>
                <a:gd name="connsiteX77" fmla="*/ 260608 w 1144138"/>
                <a:gd name="connsiteY77" fmla="*/ 346573 h 1095594"/>
                <a:gd name="connsiteX78" fmla="*/ 197045 w 1144138"/>
                <a:gd name="connsiteY78" fmla="*/ 371998 h 1095594"/>
                <a:gd name="connsiteX79" fmla="*/ 235183 w 1144138"/>
                <a:gd name="connsiteY79" fmla="*/ 263940 h 1095594"/>
                <a:gd name="connsiteX80" fmla="*/ 171620 w 1144138"/>
                <a:gd name="connsiteY80" fmla="*/ 187664 h 1095594"/>
                <a:gd name="connsiteX81" fmla="*/ 127125 w 1144138"/>
                <a:gd name="connsiteY81" fmla="*/ 66894 h 1095594"/>
                <a:gd name="connsiteX82" fmla="*/ 30957 w 1144138"/>
                <a:gd name="connsiteY82" fmla="*/ 0 h 1095594"/>
                <a:gd name="connsiteX83" fmla="*/ 35719 w 1144138"/>
                <a:gd name="connsiteY83" fmla="*/ 59532 h 1095594"/>
                <a:gd name="connsiteX84" fmla="*/ 54769 w 1144138"/>
                <a:gd name="connsiteY84" fmla="*/ 80963 h 1095594"/>
                <a:gd name="connsiteX85" fmla="*/ 85725 w 1144138"/>
                <a:gd name="connsiteY85" fmla="*/ 76200 h 1095594"/>
                <a:gd name="connsiteX86" fmla="*/ 66675 w 1144138"/>
                <a:gd name="connsiteY86" fmla="*/ 109538 h 1095594"/>
                <a:gd name="connsiteX87" fmla="*/ 23813 w 1144138"/>
                <a:gd name="connsiteY87" fmla="*/ 95250 h 1095594"/>
                <a:gd name="connsiteX88" fmla="*/ 0 w 1144138"/>
                <a:gd name="connsiteY88" fmla="*/ 164307 h 1095594"/>
                <a:gd name="connsiteX89" fmla="*/ 0 w 1144138"/>
                <a:gd name="connsiteY89" fmla="*/ 71438 h 1095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144138" h="1095594">
                  <a:moveTo>
                    <a:pt x="61912" y="167954"/>
                  </a:moveTo>
                  <a:lnTo>
                    <a:pt x="123825" y="172717"/>
                  </a:lnTo>
                  <a:cubicBezTo>
                    <a:pt x="110331" y="191767"/>
                    <a:pt x="115887" y="210817"/>
                    <a:pt x="83343" y="229867"/>
                  </a:cubicBezTo>
                  <a:lnTo>
                    <a:pt x="42862" y="203673"/>
                  </a:lnTo>
                  <a:close/>
                  <a:moveTo>
                    <a:pt x="209757" y="54181"/>
                  </a:moveTo>
                  <a:lnTo>
                    <a:pt x="362309" y="98676"/>
                  </a:lnTo>
                  <a:lnTo>
                    <a:pt x="406803" y="130457"/>
                  </a:lnTo>
                  <a:lnTo>
                    <a:pt x="508505" y="54181"/>
                  </a:lnTo>
                  <a:lnTo>
                    <a:pt x="533930" y="92319"/>
                  </a:lnTo>
                  <a:lnTo>
                    <a:pt x="603850" y="130457"/>
                  </a:lnTo>
                  <a:lnTo>
                    <a:pt x="680126" y="143170"/>
                  </a:lnTo>
                  <a:lnTo>
                    <a:pt x="629275" y="352929"/>
                  </a:lnTo>
                  <a:lnTo>
                    <a:pt x="737333" y="340217"/>
                  </a:lnTo>
                  <a:lnTo>
                    <a:pt x="737333" y="441918"/>
                  </a:lnTo>
                  <a:lnTo>
                    <a:pt x="781827" y="371998"/>
                  </a:lnTo>
                  <a:lnTo>
                    <a:pt x="870816" y="410136"/>
                  </a:lnTo>
                  <a:lnTo>
                    <a:pt x="985230" y="473700"/>
                  </a:lnTo>
                  <a:lnTo>
                    <a:pt x="1029724" y="422849"/>
                  </a:lnTo>
                  <a:lnTo>
                    <a:pt x="1080575" y="384711"/>
                  </a:lnTo>
                  <a:lnTo>
                    <a:pt x="1055149" y="365642"/>
                  </a:lnTo>
                  <a:lnTo>
                    <a:pt x="1067862" y="308435"/>
                  </a:lnTo>
                  <a:lnTo>
                    <a:pt x="1118713" y="321147"/>
                  </a:lnTo>
                  <a:lnTo>
                    <a:pt x="1144138" y="378354"/>
                  </a:lnTo>
                  <a:lnTo>
                    <a:pt x="1099644" y="416492"/>
                  </a:lnTo>
                  <a:lnTo>
                    <a:pt x="1086931" y="524551"/>
                  </a:lnTo>
                  <a:lnTo>
                    <a:pt x="966161" y="600826"/>
                  </a:lnTo>
                  <a:lnTo>
                    <a:pt x="934379" y="658034"/>
                  </a:lnTo>
                  <a:lnTo>
                    <a:pt x="997942" y="677103"/>
                  </a:lnTo>
                  <a:lnTo>
                    <a:pt x="1000736" y="677103"/>
                  </a:lnTo>
                  <a:lnTo>
                    <a:pt x="1009114" y="689071"/>
                  </a:lnTo>
                  <a:lnTo>
                    <a:pt x="1011687" y="722519"/>
                  </a:lnTo>
                  <a:lnTo>
                    <a:pt x="957656" y="773978"/>
                  </a:lnTo>
                  <a:lnTo>
                    <a:pt x="967947" y="851166"/>
                  </a:lnTo>
                  <a:lnTo>
                    <a:pt x="1024552" y="864031"/>
                  </a:lnTo>
                  <a:lnTo>
                    <a:pt x="1034843" y="892333"/>
                  </a:lnTo>
                  <a:lnTo>
                    <a:pt x="1016833" y="954083"/>
                  </a:lnTo>
                  <a:lnTo>
                    <a:pt x="985958" y="954083"/>
                  </a:lnTo>
                  <a:lnTo>
                    <a:pt x="985958" y="995250"/>
                  </a:lnTo>
                  <a:lnTo>
                    <a:pt x="911343" y="1031271"/>
                  </a:lnTo>
                  <a:lnTo>
                    <a:pt x="903624" y="1095594"/>
                  </a:lnTo>
                  <a:lnTo>
                    <a:pt x="787842" y="1059573"/>
                  </a:lnTo>
                  <a:lnTo>
                    <a:pt x="769824" y="1051038"/>
                  </a:lnTo>
                  <a:lnTo>
                    <a:pt x="789129" y="1036739"/>
                  </a:lnTo>
                  <a:lnTo>
                    <a:pt x="766937" y="1027090"/>
                  </a:lnTo>
                  <a:lnTo>
                    <a:pt x="744746" y="992355"/>
                  </a:lnTo>
                  <a:lnTo>
                    <a:pt x="729308" y="993320"/>
                  </a:lnTo>
                  <a:lnTo>
                    <a:pt x="722554" y="963410"/>
                  </a:lnTo>
                  <a:lnTo>
                    <a:pt x="713871" y="959551"/>
                  </a:lnTo>
                  <a:lnTo>
                    <a:pt x="721590" y="950867"/>
                  </a:lnTo>
                  <a:lnTo>
                    <a:pt x="737027" y="950867"/>
                  </a:lnTo>
                  <a:lnTo>
                    <a:pt x="749570" y="915167"/>
                  </a:lnTo>
                  <a:lnTo>
                    <a:pt x="737027" y="914203"/>
                  </a:lnTo>
                  <a:lnTo>
                    <a:pt x="739921" y="902624"/>
                  </a:lnTo>
                  <a:lnTo>
                    <a:pt x="717730" y="888152"/>
                  </a:lnTo>
                  <a:lnTo>
                    <a:pt x="738957" y="852452"/>
                  </a:lnTo>
                  <a:lnTo>
                    <a:pt x="731238" y="846663"/>
                  </a:lnTo>
                  <a:lnTo>
                    <a:pt x="710011" y="865960"/>
                  </a:lnTo>
                  <a:lnTo>
                    <a:pt x="691679" y="864995"/>
                  </a:lnTo>
                  <a:lnTo>
                    <a:pt x="682031" y="886222"/>
                  </a:lnTo>
                  <a:lnTo>
                    <a:pt x="658874" y="885257"/>
                  </a:lnTo>
                  <a:lnTo>
                    <a:pt x="655015" y="907449"/>
                  </a:lnTo>
                  <a:lnTo>
                    <a:pt x="627999" y="903589"/>
                  </a:lnTo>
                  <a:lnTo>
                    <a:pt x="594230" y="947972"/>
                  </a:lnTo>
                  <a:lnTo>
                    <a:pt x="571073" y="916133"/>
                  </a:lnTo>
                  <a:lnTo>
                    <a:pt x="558711" y="951038"/>
                  </a:lnTo>
                  <a:lnTo>
                    <a:pt x="494529" y="920635"/>
                  </a:lnTo>
                  <a:lnTo>
                    <a:pt x="429131" y="802416"/>
                  </a:lnTo>
                  <a:lnTo>
                    <a:pt x="376355" y="773525"/>
                  </a:lnTo>
                  <a:lnTo>
                    <a:pt x="368666" y="740666"/>
                  </a:lnTo>
                  <a:lnTo>
                    <a:pt x="266964" y="740666"/>
                  </a:lnTo>
                  <a:lnTo>
                    <a:pt x="203401" y="645321"/>
                  </a:lnTo>
                  <a:lnTo>
                    <a:pt x="260608" y="619896"/>
                  </a:lnTo>
                  <a:lnTo>
                    <a:pt x="171620" y="562688"/>
                  </a:lnTo>
                  <a:lnTo>
                    <a:pt x="203401" y="480056"/>
                  </a:lnTo>
                  <a:lnTo>
                    <a:pt x="127125" y="499125"/>
                  </a:lnTo>
                  <a:lnTo>
                    <a:pt x="108056" y="429205"/>
                  </a:lnTo>
                  <a:lnTo>
                    <a:pt x="241539" y="397424"/>
                  </a:lnTo>
                  <a:lnTo>
                    <a:pt x="260608" y="346573"/>
                  </a:lnTo>
                  <a:lnTo>
                    <a:pt x="197045" y="371998"/>
                  </a:lnTo>
                  <a:lnTo>
                    <a:pt x="235183" y="263940"/>
                  </a:lnTo>
                  <a:lnTo>
                    <a:pt x="171620" y="187664"/>
                  </a:lnTo>
                  <a:lnTo>
                    <a:pt x="127125" y="66894"/>
                  </a:lnTo>
                  <a:close/>
                  <a:moveTo>
                    <a:pt x="30957" y="0"/>
                  </a:moveTo>
                  <a:lnTo>
                    <a:pt x="35719" y="59532"/>
                  </a:lnTo>
                  <a:lnTo>
                    <a:pt x="54769" y="80963"/>
                  </a:lnTo>
                  <a:lnTo>
                    <a:pt x="85725" y="76200"/>
                  </a:lnTo>
                  <a:lnTo>
                    <a:pt x="66675" y="109538"/>
                  </a:lnTo>
                  <a:lnTo>
                    <a:pt x="23813" y="95250"/>
                  </a:lnTo>
                  <a:lnTo>
                    <a:pt x="0" y="164307"/>
                  </a:lnTo>
                  <a:lnTo>
                    <a:pt x="0" y="71438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_Map_Hamburg">
              <a:extLst>
                <a:ext uri="{FF2B5EF4-FFF2-40B4-BE49-F238E27FC236}">
                  <a16:creationId xmlns:a16="http://schemas.microsoft.com/office/drawing/2014/main" id="{12D74323-83BD-471E-9349-CE82C6358694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1723342" y="2538699"/>
              <a:ext cx="207571" cy="199883"/>
            </a:xfrm>
            <a:custGeom>
              <a:avLst/>
              <a:gdLst>
                <a:gd name="connsiteX0" fmla="*/ 0 w 578644"/>
                <a:gd name="connsiteY0" fmla="*/ 285750 h 557212"/>
                <a:gd name="connsiteX1" fmla="*/ 40482 w 578644"/>
                <a:gd name="connsiteY1" fmla="*/ 171450 h 557212"/>
                <a:gd name="connsiteX2" fmla="*/ 97632 w 578644"/>
                <a:gd name="connsiteY2" fmla="*/ 250031 h 557212"/>
                <a:gd name="connsiteX3" fmla="*/ 180975 w 578644"/>
                <a:gd name="connsiteY3" fmla="*/ 140493 h 557212"/>
                <a:gd name="connsiteX4" fmla="*/ 247650 w 578644"/>
                <a:gd name="connsiteY4" fmla="*/ 150018 h 557212"/>
                <a:gd name="connsiteX5" fmla="*/ 257175 w 578644"/>
                <a:gd name="connsiteY5" fmla="*/ 95250 h 557212"/>
                <a:gd name="connsiteX6" fmla="*/ 314325 w 578644"/>
                <a:gd name="connsiteY6" fmla="*/ 97631 h 557212"/>
                <a:gd name="connsiteX7" fmla="*/ 338138 w 578644"/>
                <a:gd name="connsiteY7" fmla="*/ 45243 h 557212"/>
                <a:gd name="connsiteX8" fmla="*/ 383382 w 578644"/>
                <a:gd name="connsiteY8" fmla="*/ 47625 h 557212"/>
                <a:gd name="connsiteX9" fmla="*/ 435769 w 578644"/>
                <a:gd name="connsiteY9" fmla="*/ 0 h 557212"/>
                <a:gd name="connsiteX10" fmla="*/ 454819 w 578644"/>
                <a:gd name="connsiteY10" fmla="*/ 14287 h 557212"/>
                <a:gd name="connsiteX11" fmla="*/ 402432 w 578644"/>
                <a:gd name="connsiteY11" fmla="*/ 102393 h 557212"/>
                <a:gd name="connsiteX12" fmla="*/ 457200 w 578644"/>
                <a:gd name="connsiteY12" fmla="*/ 138112 h 557212"/>
                <a:gd name="connsiteX13" fmla="*/ 450057 w 578644"/>
                <a:gd name="connsiteY13" fmla="*/ 166687 h 557212"/>
                <a:gd name="connsiteX14" fmla="*/ 481013 w 578644"/>
                <a:gd name="connsiteY14" fmla="*/ 169068 h 557212"/>
                <a:gd name="connsiteX15" fmla="*/ 450057 w 578644"/>
                <a:gd name="connsiteY15" fmla="*/ 257175 h 557212"/>
                <a:gd name="connsiteX16" fmla="*/ 411957 w 578644"/>
                <a:gd name="connsiteY16" fmla="*/ 257175 h 557212"/>
                <a:gd name="connsiteX17" fmla="*/ 392907 w 578644"/>
                <a:gd name="connsiteY17" fmla="*/ 278606 h 557212"/>
                <a:gd name="connsiteX18" fmla="*/ 414338 w 578644"/>
                <a:gd name="connsiteY18" fmla="*/ 288131 h 557212"/>
                <a:gd name="connsiteX19" fmla="*/ 431007 w 578644"/>
                <a:gd name="connsiteY19" fmla="*/ 361950 h 557212"/>
                <a:gd name="connsiteX20" fmla="*/ 469107 w 578644"/>
                <a:gd name="connsiteY20" fmla="*/ 359568 h 557212"/>
                <a:gd name="connsiteX21" fmla="*/ 523875 w 578644"/>
                <a:gd name="connsiteY21" fmla="*/ 445293 h 557212"/>
                <a:gd name="connsiteX22" fmla="*/ 578644 w 578644"/>
                <a:gd name="connsiteY22" fmla="*/ 469106 h 557212"/>
                <a:gd name="connsiteX23" fmla="*/ 514350 w 578644"/>
                <a:gd name="connsiteY23" fmla="*/ 516731 h 557212"/>
                <a:gd name="connsiteX24" fmla="*/ 500063 w 578644"/>
                <a:gd name="connsiteY24" fmla="*/ 557212 h 557212"/>
                <a:gd name="connsiteX25" fmla="*/ 409575 w 578644"/>
                <a:gd name="connsiteY25" fmla="*/ 557212 h 557212"/>
                <a:gd name="connsiteX26" fmla="*/ 373857 w 578644"/>
                <a:gd name="connsiteY26" fmla="*/ 507206 h 557212"/>
                <a:gd name="connsiteX27" fmla="*/ 311944 w 578644"/>
                <a:gd name="connsiteY27" fmla="*/ 442912 h 557212"/>
                <a:gd name="connsiteX28" fmla="*/ 285750 w 578644"/>
                <a:gd name="connsiteY28" fmla="*/ 490537 h 557212"/>
                <a:gd name="connsiteX29" fmla="*/ 245269 w 578644"/>
                <a:gd name="connsiteY29" fmla="*/ 528637 h 557212"/>
                <a:gd name="connsiteX30" fmla="*/ 216694 w 578644"/>
                <a:gd name="connsiteY30" fmla="*/ 497681 h 557212"/>
                <a:gd name="connsiteX31" fmla="*/ 185738 w 578644"/>
                <a:gd name="connsiteY31" fmla="*/ 516731 h 557212"/>
                <a:gd name="connsiteX32" fmla="*/ 183357 w 578644"/>
                <a:gd name="connsiteY32" fmla="*/ 473868 h 557212"/>
                <a:gd name="connsiteX33" fmla="*/ 164307 w 578644"/>
                <a:gd name="connsiteY33" fmla="*/ 452437 h 557212"/>
                <a:gd name="connsiteX34" fmla="*/ 133350 w 578644"/>
                <a:gd name="connsiteY34" fmla="*/ 490537 h 557212"/>
                <a:gd name="connsiteX35" fmla="*/ 78582 w 578644"/>
                <a:gd name="connsiteY35" fmla="*/ 431006 h 557212"/>
                <a:gd name="connsiteX36" fmla="*/ 76200 w 578644"/>
                <a:gd name="connsiteY36" fmla="*/ 383381 h 557212"/>
                <a:gd name="connsiteX37" fmla="*/ 54769 w 578644"/>
                <a:gd name="connsiteY37" fmla="*/ 390525 h 557212"/>
                <a:gd name="connsiteX38" fmla="*/ 40482 w 578644"/>
                <a:gd name="connsiteY38" fmla="*/ 364331 h 557212"/>
                <a:gd name="connsiteX39" fmla="*/ 47625 w 578644"/>
                <a:gd name="connsiteY39" fmla="*/ 345281 h 557212"/>
                <a:gd name="connsiteX40" fmla="*/ 54769 w 578644"/>
                <a:gd name="connsiteY40" fmla="*/ 302418 h 557212"/>
                <a:gd name="connsiteX41" fmla="*/ 0 w 578644"/>
                <a:gd name="connsiteY41" fmla="*/ 285750 h 55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78644" h="557212">
                  <a:moveTo>
                    <a:pt x="0" y="285750"/>
                  </a:moveTo>
                  <a:lnTo>
                    <a:pt x="40482" y="171450"/>
                  </a:lnTo>
                  <a:lnTo>
                    <a:pt x="97632" y="250031"/>
                  </a:lnTo>
                  <a:lnTo>
                    <a:pt x="180975" y="140493"/>
                  </a:lnTo>
                  <a:lnTo>
                    <a:pt x="247650" y="150018"/>
                  </a:lnTo>
                  <a:lnTo>
                    <a:pt x="257175" y="95250"/>
                  </a:lnTo>
                  <a:lnTo>
                    <a:pt x="314325" y="97631"/>
                  </a:lnTo>
                  <a:lnTo>
                    <a:pt x="338138" y="45243"/>
                  </a:lnTo>
                  <a:lnTo>
                    <a:pt x="383382" y="47625"/>
                  </a:lnTo>
                  <a:lnTo>
                    <a:pt x="435769" y="0"/>
                  </a:lnTo>
                  <a:lnTo>
                    <a:pt x="454819" y="14287"/>
                  </a:lnTo>
                  <a:lnTo>
                    <a:pt x="402432" y="102393"/>
                  </a:lnTo>
                  <a:lnTo>
                    <a:pt x="457200" y="138112"/>
                  </a:lnTo>
                  <a:lnTo>
                    <a:pt x="450057" y="166687"/>
                  </a:lnTo>
                  <a:lnTo>
                    <a:pt x="481013" y="169068"/>
                  </a:lnTo>
                  <a:lnTo>
                    <a:pt x="450057" y="257175"/>
                  </a:lnTo>
                  <a:lnTo>
                    <a:pt x="411957" y="257175"/>
                  </a:lnTo>
                  <a:lnTo>
                    <a:pt x="392907" y="278606"/>
                  </a:lnTo>
                  <a:lnTo>
                    <a:pt x="414338" y="288131"/>
                  </a:lnTo>
                  <a:lnTo>
                    <a:pt x="431007" y="361950"/>
                  </a:lnTo>
                  <a:lnTo>
                    <a:pt x="469107" y="359568"/>
                  </a:lnTo>
                  <a:lnTo>
                    <a:pt x="523875" y="445293"/>
                  </a:lnTo>
                  <a:lnTo>
                    <a:pt x="578644" y="469106"/>
                  </a:lnTo>
                  <a:lnTo>
                    <a:pt x="514350" y="516731"/>
                  </a:lnTo>
                  <a:lnTo>
                    <a:pt x="500063" y="557212"/>
                  </a:lnTo>
                  <a:lnTo>
                    <a:pt x="409575" y="557212"/>
                  </a:lnTo>
                  <a:lnTo>
                    <a:pt x="373857" y="507206"/>
                  </a:lnTo>
                  <a:lnTo>
                    <a:pt x="311944" y="442912"/>
                  </a:lnTo>
                  <a:lnTo>
                    <a:pt x="285750" y="490537"/>
                  </a:lnTo>
                  <a:lnTo>
                    <a:pt x="245269" y="528637"/>
                  </a:lnTo>
                  <a:lnTo>
                    <a:pt x="216694" y="497681"/>
                  </a:lnTo>
                  <a:lnTo>
                    <a:pt x="185738" y="516731"/>
                  </a:lnTo>
                  <a:lnTo>
                    <a:pt x="183357" y="473868"/>
                  </a:lnTo>
                  <a:lnTo>
                    <a:pt x="164307" y="452437"/>
                  </a:lnTo>
                  <a:lnTo>
                    <a:pt x="133350" y="490537"/>
                  </a:lnTo>
                  <a:lnTo>
                    <a:pt x="78582" y="431006"/>
                  </a:lnTo>
                  <a:lnTo>
                    <a:pt x="76200" y="383381"/>
                  </a:lnTo>
                  <a:lnTo>
                    <a:pt x="54769" y="390525"/>
                  </a:lnTo>
                  <a:lnTo>
                    <a:pt x="40482" y="364331"/>
                  </a:lnTo>
                  <a:lnTo>
                    <a:pt x="47625" y="345281"/>
                  </a:lnTo>
                  <a:lnTo>
                    <a:pt x="54769" y="302418"/>
                  </a:lnTo>
                  <a:lnTo>
                    <a:pt x="0" y="285750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_Map_Mecklemburg Vorpommern">
              <a:extLst>
                <a:ext uri="{FF2B5EF4-FFF2-40B4-BE49-F238E27FC236}">
                  <a16:creationId xmlns:a16="http://schemas.microsoft.com/office/drawing/2014/main" id="{BD443235-B1D6-4F8C-B822-5DEACCD0275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1948897" y="1985190"/>
              <a:ext cx="1410538" cy="912389"/>
            </a:xfrm>
            <a:custGeom>
              <a:avLst/>
              <a:gdLst>
                <a:gd name="connsiteX0" fmla="*/ 0 w 1593248"/>
                <a:gd name="connsiteY0" fmla="*/ 844837 h 1030573"/>
                <a:gd name="connsiteX1" fmla="*/ 94181 w 1593248"/>
                <a:gd name="connsiteY1" fmla="*/ 874137 h 1030573"/>
                <a:gd name="connsiteX2" fmla="*/ 91741 w 1593248"/>
                <a:gd name="connsiteY2" fmla="*/ 873379 h 1030573"/>
                <a:gd name="connsiteX3" fmla="*/ 91286 w 1593248"/>
                <a:gd name="connsiteY3" fmla="*/ 873495 h 1030573"/>
                <a:gd name="connsiteX4" fmla="*/ 90969 w 1593248"/>
                <a:gd name="connsiteY4" fmla="*/ 873138 h 1030573"/>
                <a:gd name="connsiteX5" fmla="*/ 1431314 w 1593248"/>
                <a:gd name="connsiteY5" fmla="*/ 421481 h 1030573"/>
                <a:gd name="connsiteX6" fmla="*/ 1538470 w 1593248"/>
                <a:gd name="connsiteY6" fmla="*/ 500062 h 1030573"/>
                <a:gd name="connsiteX7" fmla="*/ 1488464 w 1593248"/>
                <a:gd name="connsiteY7" fmla="*/ 509587 h 1030573"/>
                <a:gd name="connsiteX8" fmla="*/ 1514657 w 1593248"/>
                <a:gd name="connsiteY8" fmla="*/ 554831 h 1030573"/>
                <a:gd name="connsiteX9" fmla="*/ 1397976 w 1593248"/>
                <a:gd name="connsiteY9" fmla="*/ 547687 h 1030573"/>
                <a:gd name="connsiteX10" fmla="*/ 1388451 w 1593248"/>
                <a:gd name="connsiteY10" fmla="*/ 471487 h 1030573"/>
                <a:gd name="connsiteX11" fmla="*/ 1428932 w 1593248"/>
                <a:gd name="connsiteY11" fmla="*/ 492918 h 1030573"/>
                <a:gd name="connsiteX12" fmla="*/ 1455126 w 1593248"/>
                <a:gd name="connsiteY12" fmla="*/ 483393 h 1030573"/>
                <a:gd name="connsiteX13" fmla="*/ 849558 w 1593248"/>
                <a:gd name="connsiteY13" fmla="*/ 112403 h 1030573"/>
                <a:gd name="connsiteX14" fmla="*/ 976684 w 1593248"/>
                <a:gd name="connsiteY14" fmla="*/ 156898 h 1030573"/>
                <a:gd name="connsiteX15" fmla="*/ 894052 w 1593248"/>
                <a:gd name="connsiteY15" fmla="*/ 175967 h 1030573"/>
                <a:gd name="connsiteX16" fmla="*/ 989397 w 1593248"/>
                <a:gd name="connsiteY16" fmla="*/ 188680 h 1030573"/>
                <a:gd name="connsiteX17" fmla="*/ 1052960 w 1593248"/>
                <a:gd name="connsiteY17" fmla="*/ 125116 h 1030573"/>
                <a:gd name="connsiteX18" fmla="*/ 1046604 w 1593248"/>
                <a:gd name="connsiteY18" fmla="*/ 245887 h 1030573"/>
                <a:gd name="connsiteX19" fmla="*/ 1097455 w 1593248"/>
                <a:gd name="connsiteY19" fmla="*/ 284025 h 1030573"/>
                <a:gd name="connsiteX20" fmla="*/ 1173730 w 1593248"/>
                <a:gd name="connsiteY20" fmla="*/ 309450 h 1030573"/>
                <a:gd name="connsiteX21" fmla="*/ 1218225 w 1593248"/>
                <a:gd name="connsiteY21" fmla="*/ 392082 h 1030573"/>
                <a:gd name="connsiteX22" fmla="*/ 1326282 w 1593248"/>
                <a:gd name="connsiteY22" fmla="*/ 309450 h 1030573"/>
                <a:gd name="connsiteX23" fmla="*/ 1415271 w 1593248"/>
                <a:gd name="connsiteY23" fmla="*/ 411151 h 1030573"/>
                <a:gd name="connsiteX24" fmla="*/ 1364420 w 1593248"/>
                <a:gd name="connsiteY24" fmla="*/ 449289 h 1030573"/>
                <a:gd name="connsiteX25" fmla="*/ 1364420 w 1593248"/>
                <a:gd name="connsiteY25" fmla="*/ 544634 h 1030573"/>
                <a:gd name="connsiteX26" fmla="*/ 1459765 w 1593248"/>
                <a:gd name="connsiteY26" fmla="*/ 620910 h 1030573"/>
                <a:gd name="connsiteX27" fmla="*/ 1523329 w 1593248"/>
                <a:gd name="connsiteY27" fmla="*/ 633623 h 1030573"/>
                <a:gd name="connsiteX28" fmla="*/ 1523329 w 1593248"/>
                <a:gd name="connsiteY28" fmla="*/ 722612 h 1030573"/>
                <a:gd name="connsiteX29" fmla="*/ 1567823 w 1593248"/>
                <a:gd name="connsiteY29" fmla="*/ 805244 h 1030573"/>
                <a:gd name="connsiteX30" fmla="*/ 1593248 w 1593248"/>
                <a:gd name="connsiteY30" fmla="*/ 824313 h 1030573"/>
                <a:gd name="connsiteX31" fmla="*/ 1591517 w 1593248"/>
                <a:gd name="connsiteY31" fmla="*/ 860661 h 1030573"/>
                <a:gd name="connsiteX32" fmla="*/ 1547483 w 1593248"/>
                <a:gd name="connsiteY32" fmla="*/ 889705 h 1030573"/>
                <a:gd name="connsiteX33" fmla="*/ 1524327 w 1593248"/>
                <a:gd name="connsiteY33" fmla="*/ 901283 h 1030573"/>
                <a:gd name="connsiteX34" fmla="*/ 1506959 w 1593248"/>
                <a:gd name="connsiteY34" fmla="*/ 924440 h 1030573"/>
                <a:gd name="connsiteX35" fmla="*/ 1485733 w 1593248"/>
                <a:gd name="connsiteY35" fmla="*/ 937948 h 1030573"/>
                <a:gd name="connsiteX36" fmla="*/ 1437490 w 1593248"/>
                <a:gd name="connsiteY36" fmla="*/ 934088 h 1030573"/>
                <a:gd name="connsiteX37" fmla="*/ 1487662 w 1593248"/>
                <a:gd name="connsiteY37" fmla="*/ 864619 h 1030573"/>
                <a:gd name="connsiteX38" fmla="*/ 1493451 w 1593248"/>
                <a:gd name="connsiteY38" fmla="*/ 827955 h 1030573"/>
                <a:gd name="connsiteX39" fmla="*/ 1447139 w 1593248"/>
                <a:gd name="connsiteY39" fmla="*/ 816377 h 1030573"/>
                <a:gd name="connsiteX40" fmla="*/ 1425912 w 1593248"/>
                <a:gd name="connsiteY40" fmla="*/ 833744 h 1030573"/>
                <a:gd name="connsiteX41" fmla="*/ 1368021 w 1593248"/>
                <a:gd name="connsiteY41" fmla="*/ 831814 h 1030573"/>
                <a:gd name="connsiteX42" fmla="*/ 1352583 w 1593248"/>
                <a:gd name="connsiteY42" fmla="*/ 785502 h 1030573"/>
                <a:gd name="connsiteX43" fmla="*/ 1337146 w 1593248"/>
                <a:gd name="connsiteY43" fmla="*/ 764275 h 1030573"/>
                <a:gd name="connsiteX44" fmla="*/ 1317849 w 1593248"/>
                <a:gd name="connsiteY44" fmla="*/ 743048 h 1030573"/>
                <a:gd name="connsiteX45" fmla="*/ 1325568 w 1593248"/>
                <a:gd name="connsiteY45" fmla="*/ 781642 h 1030573"/>
                <a:gd name="connsiteX46" fmla="*/ 1321708 w 1593248"/>
                <a:gd name="connsiteY46" fmla="*/ 800939 h 1030573"/>
                <a:gd name="connsiteX47" fmla="*/ 1296622 w 1593248"/>
                <a:gd name="connsiteY47" fmla="*/ 793220 h 1030573"/>
                <a:gd name="connsiteX48" fmla="*/ 1258028 w 1593248"/>
                <a:gd name="connsiteY48" fmla="*/ 837604 h 1030573"/>
                <a:gd name="connsiteX49" fmla="*/ 1225223 w 1593248"/>
                <a:gd name="connsiteY49" fmla="*/ 851111 h 1030573"/>
                <a:gd name="connsiteX50" fmla="*/ 1215575 w 1593248"/>
                <a:gd name="connsiteY50" fmla="*/ 893565 h 1030573"/>
                <a:gd name="connsiteX51" fmla="*/ 1165403 w 1593248"/>
                <a:gd name="connsiteY51" fmla="*/ 951455 h 1030573"/>
                <a:gd name="connsiteX52" fmla="*/ 1149965 w 1593248"/>
                <a:gd name="connsiteY52" fmla="*/ 928299 h 1030573"/>
                <a:gd name="connsiteX53" fmla="*/ 1124879 w 1593248"/>
                <a:gd name="connsiteY53" fmla="*/ 928299 h 1030573"/>
                <a:gd name="connsiteX54" fmla="*/ 1101723 w 1593248"/>
                <a:gd name="connsiteY54" fmla="*/ 966893 h 1030573"/>
                <a:gd name="connsiteX55" fmla="*/ 1082426 w 1593248"/>
                <a:gd name="connsiteY55" fmla="*/ 945667 h 1030573"/>
                <a:gd name="connsiteX56" fmla="*/ 1066988 w 1593248"/>
                <a:gd name="connsiteY56" fmla="*/ 949526 h 1030573"/>
                <a:gd name="connsiteX57" fmla="*/ 1009097 w 1593248"/>
                <a:gd name="connsiteY57" fmla="*/ 997768 h 1030573"/>
                <a:gd name="connsiteX58" fmla="*/ 987871 w 1593248"/>
                <a:gd name="connsiteY58" fmla="*/ 980401 h 1030573"/>
                <a:gd name="connsiteX59" fmla="*/ 922261 w 1593248"/>
                <a:gd name="connsiteY59" fmla="*/ 980401 h 1030573"/>
                <a:gd name="connsiteX60" fmla="*/ 887527 w 1593248"/>
                <a:gd name="connsiteY60" fmla="*/ 937948 h 1030573"/>
                <a:gd name="connsiteX61" fmla="*/ 862440 w 1593248"/>
                <a:gd name="connsiteY61" fmla="*/ 947596 h 1030573"/>
                <a:gd name="connsiteX62" fmla="*/ 802620 w 1593248"/>
                <a:gd name="connsiteY62" fmla="*/ 945667 h 1030573"/>
                <a:gd name="connsiteX63" fmla="*/ 781393 w 1593248"/>
                <a:gd name="connsiteY63" fmla="*/ 912862 h 1030573"/>
                <a:gd name="connsiteX64" fmla="*/ 708065 w 1593248"/>
                <a:gd name="connsiteY64" fmla="*/ 878127 h 1030573"/>
                <a:gd name="connsiteX65" fmla="*/ 648244 w 1593248"/>
                <a:gd name="connsiteY65" fmla="*/ 874268 h 1030573"/>
                <a:gd name="connsiteX66" fmla="*/ 615439 w 1593248"/>
                <a:gd name="connsiteY66" fmla="*/ 924440 h 1030573"/>
                <a:gd name="connsiteX67" fmla="*/ 520884 w 1593248"/>
                <a:gd name="connsiteY67" fmla="*/ 966893 h 1030573"/>
                <a:gd name="connsiteX68" fmla="*/ 505447 w 1593248"/>
                <a:gd name="connsiteY68" fmla="*/ 947596 h 1030573"/>
                <a:gd name="connsiteX69" fmla="*/ 453345 w 1593248"/>
                <a:gd name="connsiteY69" fmla="*/ 978471 h 1030573"/>
                <a:gd name="connsiteX70" fmla="*/ 445626 w 1593248"/>
                <a:gd name="connsiteY70" fmla="*/ 1024784 h 1030573"/>
                <a:gd name="connsiteX71" fmla="*/ 393524 w 1593248"/>
                <a:gd name="connsiteY71" fmla="*/ 1015136 h 1030573"/>
                <a:gd name="connsiteX72" fmla="*/ 393524 w 1593248"/>
                <a:gd name="connsiteY72" fmla="*/ 1030573 h 1030573"/>
                <a:gd name="connsiteX73" fmla="*/ 308618 w 1593248"/>
                <a:gd name="connsiteY73" fmla="*/ 1020924 h 1030573"/>
                <a:gd name="connsiteX74" fmla="*/ 307591 w 1593248"/>
                <a:gd name="connsiteY74" fmla="*/ 1022369 h 1030573"/>
                <a:gd name="connsiteX75" fmla="*/ 302588 w 1593248"/>
                <a:gd name="connsiteY75" fmla="*/ 987346 h 1030573"/>
                <a:gd name="connsiteX76" fmla="*/ 251129 w 1593248"/>
                <a:gd name="connsiteY76" fmla="*/ 941034 h 1030573"/>
                <a:gd name="connsiteX77" fmla="*/ 233119 w 1593248"/>
                <a:gd name="connsiteY77" fmla="*/ 887002 h 1030573"/>
                <a:gd name="connsiteX78" fmla="*/ 209962 w 1593248"/>
                <a:gd name="connsiteY78" fmla="*/ 881857 h 1030573"/>
                <a:gd name="connsiteX79" fmla="*/ 166223 w 1593248"/>
                <a:gd name="connsiteY79" fmla="*/ 912731 h 1030573"/>
                <a:gd name="connsiteX80" fmla="*/ 122804 w 1593248"/>
                <a:gd name="connsiteY80" fmla="*/ 865454 h 1030573"/>
                <a:gd name="connsiteX81" fmla="*/ 94352 w 1593248"/>
                <a:gd name="connsiteY81" fmla="*/ 872713 h 1030573"/>
                <a:gd name="connsiteX82" fmla="*/ 94181 w 1593248"/>
                <a:gd name="connsiteY82" fmla="*/ 874137 h 1030573"/>
                <a:gd name="connsiteX83" fmla="*/ 101899 w 1593248"/>
                <a:gd name="connsiteY83" fmla="*/ 809814 h 1030573"/>
                <a:gd name="connsiteX84" fmla="*/ 176514 w 1593248"/>
                <a:gd name="connsiteY84" fmla="*/ 773793 h 1030573"/>
                <a:gd name="connsiteX85" fmla="*/ 176514 w 1593248"/>
                <a:gd name="connsiteY85" fmla="*/ 732626 h 1030573"/>
                <a:gd name="connsiteX86" fmla="*/ 207390 w 1593248"/>
                <a:gd name="connsiteY86" fmla="*/ 732626 h 1030573"/>
                <a:gd name="connsiteX87" fmla="*/ 225400 w 1593248"/>
                <a:gd name="connsiteY87" fmla="*/ 670876 h 1030573"/>
                <a:gd name="connsiteX88" fmla="*/ 215108 w 1593248"/>
                <a:gd name="connsiteY88" fmla="*/ 642574 h 1030573"/>
                <a:gd name="connsiteX89" fmla="*/ 158504 w 1593248"/>
                <a:gd name="connsiteY89" fmla="*/ 629709 h 1030573"/>
                <a:gd name="connsiteX90" fmla="*/ 148212 w 1593248"/>
                <a:gd name="connsiteY90" fmla="*/ 552522 h 1030573"/>
                <a:gd name="connsiteX91" fmla="*/ 202244 w 1593248"/>
                <a:gd name="connsiteY91" fmla="*/ 501063 h 1030573"/>
                <a:gd name="connsiteX92" fmla="*/ 199671 w 1593248"/>
                <a:gd name="connsiteY92" fmla="*/ 467615 h 1030573"/>
                <a:gd name="connsiteX93" fmla="*/ 191292 w 1593248"/>
                <a:gd name="connsiteY93" fmla="*/ 455646 h 1030573"/>
                <a:gd name="connsiteX94" fmla="*/ 245706 w 1593248"/>
                <a:gd name="connsiteY94" fmla="*/ 455646 h 1030573"/>
                <a:gd name="connsiteX95" fmla="*/ 302913 w 1593248"/>
                <a:gd name="connsiteY95" fmla="*/ 442933 h 1030573"/>
                <a:gd name="connsiteX96" fmla="*/ 366476 w 1593248"/>
                <a:gd name="connsiteY96" fmla="*/ 500140 h 1030573"/>
                <a:gd name="connsiteX97" fmla="*/ 449109 w 1593248"/>
                <a:gd name="connsiteY97" fmla="*/ 481071 h 1030573"/>
                <a:gd name="connsiteX98" fmla="*/ 442752 w 1593248"/>
                <a:gd name="connsiteY98" fmla="*/ 392082 h 1030573"/>
                <a:gd name="connsiteX99" fmla="*/ 499959 w 1593248"/>
                <a:gd name="connsiteY99" fmla="*/ 334875 h 1030573"/>
                <a:gd name="connsiteX100" fmla="*/ 576235 w 1593248"/>
                <a:gd name="connsiteY100" fmla="*/ 353944 h 1030573"/>
                <a:gd name="connsiteX101" fmla="*/ 684293 w 1593248"/>
                <a:gd name="connsiteY101" fmla="*/ 315806 h 1030573"/>
                <a:gd name="connsiteX102" fmla="*/ 728787 w 1593248"/>
                <a:gd name="connsiteY102" fmla="*/ 245887 h 1030573"/>
                <a:gd name="connsiteX103" fmla="*/ 811420 w 1593248"/>
                <a:gd name="connsiteY103" fmla="*/ 252243 h 1030573"/>
                <a:gd name="connsiteX104" fmla="*/ 862270 w 1593248"/>
                <a:gd name="connsiteY104" fmla="*/ 195036 h 1030573"/>
                <a:gd name="connsiteX105" fmla="*/ 754213 w 1593248"/>
                <a:gd name="connsiteY105" fmla="*/ 239530 h 1030573"/>
                <a:gd name="connsiteX106" fmla="*/ 258419 w 1593248"/>
                <a:gd name="connsiteY106" fmla="*/ 86978 h 1030573"/>
                <a:gd name="connsiteX107" fmla="*/ 245706 w 1593248"/>
                <a:gd name="connsiteY107" fmla="*/ 144185 h 1030573"/>
                <a:gd name="connsiteX108" fmla="*/ 245706 w 1593248"/>
                <a:gd name="connsiteY108" fmla="*/ 144185 h 1030573"/>
                <a:gd name="connsiteX109" fmla="*/ 1209857 w 1593248"/>
                <a:gd name="connsiteY109" fmla="*/ 0 h 1030573"/>
                <a:gd name="connsiteX110" fmla="*/ 1181282 w 1593248"/>
                <a:gd name="connsiteY110" fmla="*/ 28575 h 1030573"/>
                <a:gd name="connsiteX111" fmla="*/ 1214620 w 1593248"/>
                <a:gd name="connsiteY111" fmla="*/ 54768 h 1030573"/>
                <a:gd name="connsiteX112" fmla="*/ 1300345 w 1593248"/>
                <a:gd name="connsiteY112" fmla="*/ 57150 h 1030573"/>
                <a:gd name="connsiteX113" fmla="*/ 1271770 w 1593248"/>
                <a:gd name="connsiteY113" fmla="*/ 126206 h 1030573"/>
                <a:gd name="connsiteX114" fmla="*/ 1286057 w 1593248"/>
                <a:gd name="connsiteY114" fmla="*/ 169068 h 1030573"/>
                <a:gd name="connsiteX115" fmla="*/ 1328920 w 1593248"/>
                <a:gd name="connsiteY115" fmla="*/ 238125 h 1030573"/>
                <a:gd name="connsiteX116" fmla="*/ 1240814 w 1593248"/>
                <a:gd name="connsiteY116" fmla="*/ 219075 h 1030573"/>
                <a:gd name="connsiteX117" fmla="*/ 1181282 w 1593248"/>
                <a:gd name="connsiteY117" fmla="*/ 290512 h 1030573"/>
                <a:gd name="connsiteX118" fmla="*/ 1140801 w 1593248"/>
                <a:gd name="connsiteY118" fmla="*/ 278606 h 1030573"/>
                <a:gd name="connsiteX119" fmla="*/ 1078889 w 1593248"/>
                <a:gd name="connsiteY119" fmla="*/ 216693 h 1030573"/>
                <a:gd name="connsiteX120" fmla="*/ 1133657 w 1593248"/>
                <a:gd name="connsiteY120" fmla="*/ 195262 h 1030573"/>
                <a:gd name="connsiteX121" fmla="*/ 1090795 w 1593248"/>
                <a:gd name="connsiteY121" fmla="*/ 104775 h 1030573"/>
                <a:gd name="connsiteX122" fmla="*/ 1116989 w 1593248"/>
                <a:gd name="connsiteY122" fmla="*/ 85725 h 1030573"/>
                <a:gd name="connsiteX123" fmla="*/ 1212239 w 1593248"/>
                <a:gd name="connsiteY123" fmla="*/ 130968 h 1030573"/>
                <a:gd name="connsiteX124" fmla="*/ 1202714 w 1593248"/>
                <a:gd name="connsiteY124" fmla="*/ 73818 h 1030573"/>
                <a:gd name="connsiteX125" fmla="*/ 1140801 w 1593248"/>
                <a:gd name="connsiteY125" fmla="*/ 85725 h 1030573"/>
                <a:gd name="connsiteX126" fmla="*/ 1131276 w 1593248"/>
                <a:gd name="connsiteY126" fmla="*/ 4762 h 1030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593248" h="1030573">
                  <a:moveTo>
                    <a:pt x="0" y="844837"/>
                  </a:moveTo>
                  <a:lnTo>
                    <a:pt x="94181" y="874137"/>
                  </a:lnTo>
                  <a:lnTo>
                    <a:pt x="91741" y="873379"/>
                  </a:lnTo>
                  <a:lnTo>
                    <a:pt x="91286" y="873495"/>
                  </a:lnTo>
                  <a:lnTo>
                    <a:pt x="90969" y="873138"/>
                  </a:lnTo>
                  <a:close/>
                  <a:moveTo>
                    <a:pt x="1431314" y="421481"/>
                  </a:moveTo>
                  <a:lnTo>
                    <a:pt x="1538470" y="500062"/>
                  </a:lnTo>
                  <a:lnTo>
                    <a:pt x="1488464" y="509587"/>
                  </a:lnTo>
                  <a:lnTo>
                    <a:pt x="1514657" y="554831"/>
                  </a:lnTo>
                  <a:lnTo>
                    <a:pt x="1397976" y="547687"/>
                  </a:lnTo>
                  <a:lnTo>
                    <a:pt x="1388451" y="471487"/>
                  </a:lnTo>
                  <a:cubicBezTo>
                    <a:pt x="1393610" y="462359"/>
                    <a:pt x="1417820" y="490934"/>
                    <a:pt x="1428932" y="492918"/>
                  </a:cubicBezTo>
                  <a:lnTo>
                    <a:pt x="1455126" y="483393"/>
                  </a:lnTo>
                  <a:close/>
                  <a:moveTo>
                    <a:pt x="849558" y="112403"/>
                  </a:moveTo>
                  <a:lnTo>
                    <a:pt x="976684" y="156898"/>
                  </a:lnTo>
                  <a:lnTo>
                    <a:pt x="894052" y="175967"/>
                  </a:lnTo>
                  <a:lnTo>
                    <a:pt x="989397" y="188680"/>
                  </a:lnTo>
                  <a:lnTo>
                    <a:pt x="1052960" y="125116"/>
                  </a:lnTo>
                  <a:lnTo>
                    <a:pt x="1046604" y="245887"/>
                  </a:lnTo>
                  <a:lnTo>
                    <a:pt x="1097455" y="284025"/>
                  </a:lnTo>
                  <a:lnTo>
                    <a:pt x="1173730" y="309450"/>
                  </a:lnTo>
                  <a:lnTo>
                    <a:pt x="1218225" y="392082"/>
                  </a:lnTo>
                  <a:lnTo>
                    <a:pt x="1326282" y="309450"/>
                  </a:lnTo>
                  <a:lnTo>
                    <a:pt x="1415271" y="411151"/>
                  </a:lnTo>
                  <a:lnTo>
                    <a:pt x="1364420" y="449289"/>
                  </a:lnTo>
                  <a:lnTo>
                    <a:pt x="1364420" y="544634"/>
                  </a:lnTo>
                  <a:lnTo>
                    <a:pt x="1459765" y="620910"/>
                  </a:lnTo>
                  <a:lnTo>
                    <a:pt x="1523329" y="633623"/>
                  </a:lnTo>
                  <a:lnTo>
                    <a:pt x="1523329" y="722612"/>
                  </a:lnTo>
                  <a:lnTo>
                    <a:pt x="1567823" y="805244"/>
                  </a:lnTo>
                  <a:lnTo>
                    <a:pt x="1593248" y="824313"/>
                  </a:lnTo>
                  <a:lnTo>
                    <a:pt x="1591517" y="860661"/>
                  </a:lnTo>
                  <a:lnTo>
                    <a:pt x="1547483" y="889705"/>
                  </a:lnTo>
                  <a:lnTo>
                    <a:pt x="1524327" y="901283"/>
                  </a:lnTo>
                  <a:lnTo>
                    <a:pt x="1506959" y="924440"/>
                  </a:lnTo>
                  <a:lnTo>
                    <a:pt x="1485733" y="937948"/>
                  </a:lnTo>
                  <a:lnTo>
                    <a:pt x="1437490" y="934088"/>
                  </a:lnTo>
                  <a:lnTo>
                    <a:pt x="1487662" y="864619"/>
                  </a:lnTo>
                  <a:lnTo>
                    <a:pt x="1493451" y="827955"/>
                  </a:lnTo>
                  <a:lnTo>
                    <a:pt x="1447139" y="816377"/>
                  </a:lnTo>
                  <a:lnTo>
                    <a:pt x="1425912" y="833744"/>
                  </a:lnTo>
                  <a:lnTo>
                    <a:pt x="1368021" y="831814"/>
                  </a:lnTo>
                  <a:lnTo>
                    <a:pt x="1352583" y="785502"/>
                  </a:lnTo>
                  <a:lnTo>
                    <a:pt x="1337146" y="764275"/>
                  </a:lnTo>
                  <a:lnTo>
                    <a:pt x="1317849" y="743048"/>
                  </a:lnTo>
                  <a:lnTo>
                    <a:pt x="1325568" y="781642"/>
                  </a:lnTo>
                  <a:lnTo>
                    <a:pt x="1321708" y="800939"/>
                  </a:lnTo>
                  <a:lnTo>
                    <a:pt x="1296622" y="793220"/>
                  </a:lnTo>
                  <a:lnTo>
                    <a:pt x="1258028" y="837604"/>
                  </a:lnTo>
                  <a:lnTo>
                    <a:pt x="1225223" y="851111"/>
                  </a:lnTo>
                  <a:lnTo>
                    <a:pt x="1215575" y="893565"/>
                  </a:lnTo>
                  <a:lnTo>
                    <a:pt x="1165403" y="951455"/>
                  </a:lnTo>
                  <a:lnTo>
                    <a:pt x="1149965" y="928299"/>
                  </a:lnTo>
                  <a:lnTo>
                    <a:pt x="1124879" y="928299"/>
                  </a:lnTo>
                  <a:lnTo>
                    <a:pt x="1101723" y="966893"/>
                  </a:lnTo>
                  <a:lnTo>
                    <a:pt x="1082426" y="945667"/>
                  </a:lnTo>
                  <a:lnTo>
                    <a:pt x="1066988" y="949526"/>
                  </a:lnTo>
                  <a:lnTo>
                    <a:pt x="1009097" y="997768"/>
                  </a:lnTo>
                  <a:lnTo>
                    <a:pt x="987871" y="980401"/>
                  </a:lnTo>
                  <a:lnTo>
                    <a:pt x="922261" y="980401"/>
                  </a:lnTo>
                  <a:lnTo>
                    <a:pt x="887527" y="937948"/>
                  </a:lnTo>
                  <a:lnTo>
                    <a:pt x="862440" y="947596"/>
                  </a:lnTo>
                  <a:lnTo>
                    <a:pt x="802620" y="945667"/>
                  </a:lnTo>
                  <a:lnTo>
                    <a:pt x="781393" y="912862"/>
                  </a:lnTo>
                  <a:lnTo>
                    <a:pt x="708065" y="878127"/>
                  </a:lnTo>
                  <a:lnTo>
                    <a:pt x="648244" y="874268"/>
                  </a:lnTo>
                  <a:lnTo>
                    <a:pt x="615439" y="924440"/>
                  </a:lnTo>
                  <a:lnTo>
                    <a:pt x="520884" y="966893"/>
                  </a:lnTo>
                  <a:lnTo>
                    <a:pt x="505447" y="947596"/>
                  </a:lnTo>
                  <a:lnTo>
                    <a:pt x="453345" y="978471"/>
                  </a:lnTo>
                  <a:lnTo>
                    <a:pt x="445626" y="1024784"/>
                  </a:lnTo>
                  <a:lnTo>
                    <a:pt x="393524" y="1015136"/>
                  </a:lnTo>
                  <a:lnTo>
                    <a:pt x="393524" y="1030573"/>
                  </a:lnTo>
                  <a:lnTo>
                    <a:pt x="308618" y="1020924"/>
                  </a:lnTo>
                  <a:lnTo>
                    <a:pt x="307591" y="1022369"/>
                  </a:lnTo>
                  <a:lnTo>
                    <a:pt x="302588" y="987346"/>
                  </a:lnTo>
                  <a:lnTo>
                    <a:pt x="251129" y="941034"/>
                  </a:lnTo>
                  <a:lnTo>
                    <a:pt x="233119" y="887002"/>
                  </a:lnTo>
                  <a:lnTo>
                    <a:pt x="209962" y="881857"/>
                  </a:lnTo>
                  <a:lnTo>
                    <a:pt x="166223" y="912731"/>
                  </a:lnTo>
                  <a:lnTo>
                    <a:pt x="122804" y="865454"/>
                  </a:lnTo>
                  <a:lnTo>
                    <a:pt x="94352" y="872713"/>
                  </a:lnTo>
                  <a:cubicBezTo>
                    <a:pt x="94295" y="873187"/>
                    <a:pt x="94238" y="873662"/>
                    <a:pt x="94181" y="874137"/>
                  </a:cubicBezTo>
                  <a:lnTo>
                    <a:pt x="101899" y="809814"/>
                  </a:lnTo>
                  <a:lnTo>
                    <a:pt x="176514" y="773793"/>
                  </a:lnTo>
                  <a:lnTo>
                    <a:pt x="176514" y="732626"/>
                  </a:lnTo>
                  <a:lnTo>
                    <a:pt x="207390" y="732626"/>
                  </a:lnTo>
                  <a:lnTo>
                    <a:pt x="225400" y="670876"/>
                  </a:lnTo>
                  <a:lnTo>
                    <a:pt x="215108" y="642574"/>
                  </a:lnTo>
                  <a:lnTo>
                    <a:pt x="158504" y="629709"/>
                  </a:lnTo>
                  <a:lnTo>
                    <a:pt x="148212" y="552522"/>
                  </a:lnTo>
                  <a:lnTo>
                    <a:pt x="202244" y="501063"/>
                  </a:lnTo>
                  <a:lnTo>
                    <a:pt x="199671" y="467615"/>
                  </a:lnTo>
                  <a:lnTo>
                    <a:pt x="191292" y="455646"/>
                  </a:lnTo>
                  <a:lnTo>
                    <a:pt x="245706" y="455646"/>
                  </a:lnTo>
                  <a:lnTo>
                    <a:pt x="302913" y="442933"/>
                  </a:lnTo>
                  <a:lnTo>
                    <a:pt x="366476" y="500140"/>
                  </a:lnTo>
                  <a:lnTo>
                    <a:pt x="449109" y="481071"/>
                  </a:lnTo>
                  <a:lnTo>
                    <a:pt x="442752" y="392082"/>
                  </a:lnTo>
                  <a:lnTo>
                    <a:pt x="499959" y="334875"/>
                  </a:lnTo>
                  <a:lnTo>
                    <a:pt x="576235" y="353944"/>
                  </a:lnTo>
                  <a:lnTo>
                    <a:pt x="684293" y="315806"/>
                  </a:lnTo>
                  <a:lnTo>
                    <a:pt x="728787" y="245887"/>
                  </a:lnTo>
                  <a:lnTo>
                    <a:pt x="811420" y="252243"/>
                  </a:lnTo>
                  <a:lnTo>
                    <a:pt x="862270" y="195036"/>
                  </a:lnTo>
                  <a:lnTo>
                    <a:pt x="754213" y="239530"/>
                  </a:lnTo>
                  <a:close/>
                  <a:moveTo>
                    <a:pt x="258419" y="86978"/>
                  </a:moveTo>
                  <a:lnTo>
                    <a:pt x="245706" y="144185"/>
                  </a:lnTo>
                  <a:lnTo>
                    <a:pt x="245706" y="144185"/>
                  </a:lnTo>
                  <a:close/>
                  <a:moveTo>
                    <a:pt x="1209857" y="0"/>
                  </a:moveTo>
                  <a:lnTo>
                    <a:pt x="1181282" y="28575"/>
                  </a:lnTo>
                  <a:lnTo>
                    <a:pt x="1214620" y="54768"/>
                  </a:lnTo>
                  <a:lnTo>
                    <a:pt x="1300345" y="57150"/>
                  </a:lnTo>
                  <a:lnTo>
                    <a:pt x="1271770" y="126206"/>
                  </a:lnTo>
                  <a:lnTo>
                    <a:pt x="1286057" y="169068"/>
                  </a:lnTo>
                  <a:lnTo>
                    <a:pt x="1328920" y="238125"/>
                  </a:lnTo>
                  <a:lnTo>
                    <a:pt x="1240814" y="219075"/>
                  </a:lnTo>
                  <a:lnTo>
                    <a:pt x="1181282" y="290512"/>
                  </a:lnTo>
                  <a:lnTo>
                    <a:pt x="1140801" y="278606"/>
                  </a:lnTo>
                  <a:lnTo>
                    <a:pt x="1078889" y="216693"/>
                  </a:lnTo>
                  <a:lnTo>
                    <a:pt x="1133657" y="195262"/>
                  </a:lnTo>
                  <a:lnTo>
                    <a:pt x="1090795" y="104775"/>
                  </a:lnTo>
                  <a:lnTo>
                    <a:pt x="1116989" y="85725"/>
                  </a:lnTo>
                  <a:lnTo>
                    <a:pt x="1212239" y="130968"/>
                  </a:lnTo>
                  <a:lnTo>
                    <a:pt x="1202714" y="73818"/>
                  </a:lnTo>
                  <a:lnTo>
                    <a:pt x="1140801" y="85725"/>
                  </a:lnTo>
                  <a:lnTo>
                    <a:pt x="1131276" y="4762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_Map_Brandenburg">
              <a:extLst>
                <a:ext uri="{FF2B5EF4-FFF2-40B4-BE49-F238E27FC236}">
                  <a16:creationId xmlns:a16="http://schemas.microsoft.com/office/drawing/2014/main" id="{9481A681-8B93-49E7-B034-3C6283C629EE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2221214" y="2643027"/>
              <a:ext cx="1245141" cy="1220939"/>
            </a:xfrm>
            <a:custGeom>
              <a:avLst/>
              <a:gdLst>
                <a:gd name="connsiteX0" fmla="*/ 2162328 w 3471070"/>
                <a:gd name="connsiteY0" fmla="*/ 1393031 h 3403600"/>
                <a:gd name="connsiteX1" fmla="*/ 2152803 w 3471070"/>
                <a:gd name="connsiteY1" fmla="*/ 1419225 h 3403600"/>
                <a:gd name="connsiteX2" fmla="*/ 2169471 w 3471070"/>
                <a:gd name="connsiteY2" fmla="*/ 1435894 h 3403600"/>
                <a:gd name="connsiteX3" fmla="*/ 2136134 w 3471070"/>
                <a:gd name="connsiteY3" fmla="*/ 1452563 h 3403600"/>
                <a:gd name="connsiteX4" fmla="*/ 2107559 w 3471070"/>
                <a:gd name="connsiteY4" fmla="*/ 1435894 h 3403600"/>
                <a:gd name="connsiteX5" fmla="*/ 2076603 w 3471070"/>
                <a:gd name="connsiteY5" fmla="*/ 1481138 h 3403600"/>
                <a:gd name="connsiteX6" fmla="*/ 2021834 w 3471070"/>
                <a:gd name="connsiteY6" fmla="*/ 1473994 h 3403600"/>
                <a:gd name="connsiteX7" fmla="*/ 2002784 w 3471070"/>
                <a:gd name="connsiteY7" fmla="*/ 1409700 h 3403600"/>
                <a:gd name="connsiteX8" fmla="*/ 1981353 w 3471070"/>
                <a:gd name="connsiteY8" fmla="*/ 1476375 h 3403600"/>
                <a:gd name="connsiteX9" fmla="*/ 1943253 w 3471070"/>
                <a:gd name="connsiteY9" fmla="*/ 1469231 h 3403600"/>
                <a:gd name="connsiteX10" fmla="*/ 1921821 w 3471070"/>
                <a:gd name="connsiteY10" fmla="*/ 1500188 h 3403600"/>
                <a:gd name="connsiteX11" fmla="*/ 1945634 w 3471070"/>
                <a:gd name="connsiteY11" fmla="*/ 1533525 h 3403600"/>
                <a:gd name="connsiteX12" fmla="*/ 1881340 w 3471070"/>
                <a:gd name="connsiteY12" fmla="*/ 1516856 h 3403600"/>
                <a:gd name="connsiteX13" fmla="*/ 1857528 w 3471070"/>
                <a:gd name="connsiteY13" fmla="*/ 1531144 h 3403600"/>
                <a:gd name="connsiteX14" fmla="*/ 1878959 w 3471070"/>
                <a:gd name="connsiteY14" fmla="*/ 1583531 h 3403600"/>
                <a:gd name="connsiteX15" fmla="*/ 1836096 w 3471070"/>
                <a:gd name="connsiteY15" fmla="*/ 1640681 h 3403600"/>
                <a:gd name="connsiteX16" fmla="*/ 1888484 w 3471070"/>
                <a:gd name="connsiteY16" fmla="*/ 1647825 h 3403600"/>
                <a:gd name="connsiteX17" fmla="*/ 1831334 w 3471070"/>
                <a:gd name="connsiteY17" fmla="*/ 1719263 h 3403600"/>
                <a:gd name="connsiteX18" fmla="*/ 1852765 w 3471070"/>
                <a:gd name="connsiteY18" fmla="*/ 1754981 h 3403600"/>
                <a:gd name="connsiteX19" fmla="*/ 1817046 w 3471070"/>
                <a:gd name="connsiteY19" fmla="*/ 1790700 h 3403600"/>
                <a:gd name="connsiteX20" fmla="*/ 1850384 w 3471070"/>
                <a:gd name="connsiteY20" fmla="*/ 1854994 h 3403600"/>
                <a:gd name="connsiteX21" fmla="*/ 1890865 w 3471070"/>
                <a:gd name="connsiteY21" fmla="*/ 1828800 h 3403600"/>
                <a:gd name="connsiteX22" fmla="*/ 1964684 w 3471070"/>
                <a:gd name="connsiteY22" fmla="*/ 1790700 h 3403600"/>
                <a:gd name="connsiteX23" fmla="*/ 1974209 w 3471070"/>
                <a:gd name="connsiteY23" fmla="*/ 1824038 h 3403600"/>
                <a:gd name="connsiteX24" fmla="*/ 2024215 w 3471070"/>
                <a:gd name="connsiteY24" fmla="*/ 1802606 h 3403600"/>
                <a:gd name="connsiteX25" fmla="*/ 2031359 w 3471070"/>
                <a:gd name="connsiteY25" fmla="*/ 1826419 h 3403600"/>
                <a:gd name="connsiteX26" fmla="*/ 2059934 w 3471070"/>
                <a:gd name="connsiteY26" fmla="*/ 1804988 h 3403600"/>
                <a:gd name="connsiteX27" fmla="*/ 2114703 w 3471070"/>
                <a:gd name="connsiteY27" fmla="*/ 1862138 h 3403600"/>
                <a:gd name="connsiteX28" fmla="*/ 2136134 w 3471070"/>
                <a:gd name="connsiteY28" fmla="*/ 1857375 h 3403600"/>
                <a:gd name="connsiteX29" fmla="*/ 2131371 w 3471070"/>
                <a:gd name="connsiteY29" fmla="*/ 1807369 h 3403600"/>
                <a:gd name="connsiteX30" fmla="*/ 2169471 w 3471070"/>
                <a:gd name="connsiteY30" fmla="*/ 1790700 h 3403600"/>
                <a:gd name="connsiteX31" fmla="*/ 2176615 w 3471070"/>
                <a:gd name="connsiteY31" fmla="*/ 1828800 h 3403600"/>
                <a:gd name="connsiteX32" fmla="*/ 2236146 w 3471070"/>
                <a:gd name="connsiteY32" fmla="*/ 1821656 h 3403600"/>
                <a:gd name="connsiteX33" fmla="*/ 2245671 w 3471070"/>
                <a:gd name="connsiteY33" fmla="*/ 1850231 h 3403600"/>
                <a:gd name="connsiteX34" fmla="*/ 2302821 w 3471070"/>
                <a:gd name="connsiteY34" fmla="*/ 1845469 h 3403600"/>
                <a:gd name="connsiteX35" fmla="*/ 2343303 w 3471070"/>
                <a:gd name="connsiteY35" fmla="*/ 1859756 h 3403600"/>
                <a:gd name="connsiteX36" fmla="*/ 2343303 w 3471070"/>
                <a:gd name="connsiteY36" fmla="*/ 1926431 h 3403600"/>
                <a:gd name="connsiteX37" fmla="*/ 2398071 w 3471070"/>
                <a:gd name="connsiteY37" fmla="*/ 1866900 h 3403600"/>
                <a:gd name="connsiteX38" fmla="*/ 2390928 w 3471070"/>
                <a:gd name="connsiteY38" fmla="*/ 1835944 h 3403600"/>
                <a:gd name="connsiteX39" fmla="*/ 2433790 w 3471070"/>
                <a:gd name="connsiteY39" fmla="*/ 1816894 h 3403600"/>
                <a:gd name="connsiteX40" fmla="*/ 2429028 w 3471070"/>
                <a:gd name="connsiteY40" fmla="*/ 1764506 h 3403600"/>
                <a:gd name="connsiteX41" fmla="*/ 2455221 w 3471070"/>
                <a:gd name="connsiteY41" fmla="*/ 1764506 h 3403600"/>
                <a:gd name="connsiteX42" fmla="*/ 2455221 w 3471070"/>
                <a:gd name="connsiteY42" fmla="*/ 1735931 h 3403600"/>
                <a:gd name="connsiteX43" fmla="*/ 2398071 w 3471070"/>
                <a:gd name="connsiteY43" fmla="*/ 1719263 h 3403600"/>
                <a:gd name="connsiteX44" fmla="*/ 2336159 w 3471070"/>
                <a:gd name="connsiteY44" fmla="*/ 1702594 h 3403600"/>
                <a:gd name="connsiteX45" fmla="*/ 2312346 w 3471070"/>
                <a:gd name="connsiteY45" fmla="*/ 1714500 h 3403600"/>
                <a:gd name="connsiteX46" fmla="*/ 2329015 w 3471070"/>
                <a:gd name="connsiteY46" fmla="*/ 1647825 h 3403600"/>
                <a:gd name="connsiteX47" fmla="*/ 2359971 w 3471070"/>
                <a:gd name="connsiteY47" fmla="*/ 1619250 h 3403600"/>
                <a:gd name="connsiteX48" fmla="*/ 2326634 w 3471070"/>
                <a:gd name="connsiteY48" fmla="*/ 1593056 h 3403600"/>
                <a:gd name="connsiteX49" fmla="*/ 2274246 w 3471070"/>
                <a:gd name="connsiteY49" fmla="*/ 1588294 h 3403600"/>
                <a:gd name="connsiteX50" fmla="*/ 2279009 w 3471070"/>
                <a:gd name="connsiteY50" fmla="*/ 1552575 h 3403600"/>
                <a:gd name="connsiteX51" fmla="*/ 2212334 w 3471070"/>
                <a:gd name="connsiteY51" fmla="*/ 1519238 h 3403600"/>
                <a:gd name="connsiteX52" fmla="*/ 2195665 w 3471070"/>
                <a:gd name="connsiteY52" fmla="*/ 1488281 h 3403600"/>
                <a:gd name="connsiteX53" fmla="*/ 2224240 w 3471070"/>
                <a:gd name="connsiteY53" fmla="*/ 1447800 h 3403600"/>
                <a:gd name="connsiteX54" fmla="*/ 2190903 w 3471070"/>
                <a:gd name="connsiteY54" fmla="*/ 1421606 h 3403600"/>
                <a:gd name="connsiteX55" fmla="*/ 2195665 w 3471070"/>
                <a:gd name="connsiteY55" fmla="*/ 1393031 h 3403600"/>
                <a:gd name="connsiteX56" fmla="*/ 2493320 w 3471070"/>
                <a:gd name="connsiteY56" fmla="*/ 0 h 3403600"/>
                <a:gd name="connsiteX57" fmla="*/ 2540945 w 3471070"/>
                <a:gd name="connsiteY57" fmla="*/ 52388 h 3403600"/>
                <a:gd name="connsiteX58" fmla="*/ 2579045 w 3471070"/>
                <a:gd name="connsiteY58" fmla="*/ 104775 h 3403600"/>
                <a:gd name="connsiteX59" fmla="*/ 2617145 w 3471070"/>
                <a:gd name="connsiteY59" fmla="*/ 219075 h 3403600"/>
                <a:gd name="connsiteX60" fmla="*/ 2760020 w 3471070"/>
                <a:gd name="connsiteY60" fmla="*/ 223838 h 3403600"/>
                <a:gd name="connsiteX61" fmla="*/ 2812408 w 3471070"/>
                <a:gd name="connsiteY61" fmla="*/ 180975 h 3403600"/>
                <a:gd name="connsiteX62" fmla="*/ 2926708 w 3471070"/>
                <a:gd name="connsiteY62" fmla="*/ 209550 h 3403600"/>
                <a:gd name="connsiteX63" fmla="*/ 2912420 w 3471070"/>
                <a:gd name="connsiteY63" fmla="*/ 300038 h 3403600"/>
                <a:gd name="connsiteX64" fmla="*/ 2788595 w 3471070"/>
                <a:gd name="connsiteY64" fmla="*/ 471488 h 3403600"/>
                <a:gd name="connsiteX65" fmla="*/ 2907658 w 3471070"/>
                <a:gd name="connsiteY65" fmla="*/ 481013 h 3403600"/>
                <a:gd name="connsiteX66" fmla="*/ 2960045 w 3471070"/>
                <a:gd name="connsiteY66" fmla="*/ 447675 h 3403600"/>
                <a:gd name="connsiteX67" fmla="*/ 3002908 w 3471070"/>
                <a:gd name="connsiteY67" fmla="*/ 390525 h 3403600"/>
                <a:gd name="connsiteX68" fmla="*/ 3060058 w 3471070"/>
                <a:gd name="connsiteY68" fmla="*/ 361950 h 3403600"/>
                <a:gd name="connsiteX69" fmla="*/ 3168735 w 3471070"/>
                <a:gd name="connsiteY69" fmla="*/ 290270 h 3403600"/>
                <a:gd name="connsiteX70" fmla="*/ 3157321 w 3471070"/>
                <a:gd name="connsiteY70" fmla="*/ 529999 h 3403600"/>
                <a:gd name="connsiteX71" fmla="*/ 3031821 w 3471070"/>
                <a:gd name="connsiteY71" fmla="*/ 796687 h 3403600"/>
                <a:gd name="connsiteX72" fmla="*/ 2890634 w 3471070"/>
                <a:gd name="connsiteY72" fmla="*/ 953561 h 3403600"/>
                <a:gd name="connsiteX73" fmla="*/ 2827884 w 3471070"/>
                <a:gd name="connsiteY73" fmla="*/ 1094749 h 3403600"/>
                <a:gd name="connsiteX74" fmla="*/ 2906321 w 3471070"/>
                <a:gd name="connsiteY74" fmla="*/ 1141811 h 3403600"/>
                <a:gd name="connsiteX75" fmla="*/ 3063196 w 3471070"/>
                <a:gd name="connsiteY75" fmla="*/ 1267311 h 3403600"/>
                <a:gd name="connsiteX76" fmla="*/ 3267133 w 3471070"/>
                <a:gd name="connsiteY76" fmla="*/ 1392811 h 3403600"/>
                <a:gd name="connsiteX77" fmla="*/ 3376945 w 3471070"/>
                <a:gd name="connsiteY77" fmla="*/ 1518310 h 3403600"/>
                <a:gd name="connsiteX78" fmla="*/ 3314195 w 3471070"/>
                <a:gd name="connsiteY78" fmla="*/ 1706560 h 3403600"/>
                <a:gd name="connsiteX79" fmla="*/ 3282820 w 3471070"/>
                <a:gd name="connsiteY79" fmla="*/ 1816373 h 3403600"/>
                <a:gd name="connsiteX80" fmla="*/ 3251445 w 3471070"/>
                <a:gd name="connsiteY80" fmla="*/ 2020310 h 3403600"/>
                <a:gd name="connsiteX81" fmla="*/ 3424007 w 3471070"/>
                <a:gd name="connsiteY81" fmla="*/ 2161497 h 3403600"/>
                <a:gd name="connsiteX82" fmla="*/ 3471070 w 3471070"/>
                <a:gd name="connsiteY82" fmla="*/ 2365434 h 3403600"/>
                <a:gd name="connsiteX83" fmla="*/ 3376945 w 3471070"/>
                <a:gd name="connsiteY83" fmla="*/ 2490934 h 3403600"/>
                <a:gd name="connsiteX84" fmla="*/ 3251445 w 3471070"/>
                <a:gd name="connsiteY84" fmla="*/ 2757621 h 3403600"/>
                <a:gd name="connsiteX85" fmla="*/ 3376945 w 3471070"/>
                <a:gd name="connsiteY85" fmla="*/ 2883121 h 3403600"/>
                <a:gd name="connsiteX86" fmla="*/ 3439695 w 3471070"/>
                <a:gd name="connsiteY86" fmla="*/ 2992933 h 3403600"/>
                <a:gd name="connsiteX87" fmla="*/ 3444650 w 3471070"/>
                <a:gd name="connsiteY87" fmla="*/ 3067258 h 3403600"/>
                <a:gd name="connsiteX88" fmla="*/ 3418834 w 3471070"/>
                <a:gd name="connsiteY88" fmla="*/ 3054350 h 3403600"/>
                <a:gd name="connsiteX89" fmla="*/ 3253734 w 3471070"/>
                <a:gd name="connsiteY89" fmla="*/ 3136900 h 3403600"/>
                <a:gd name="connsiteX90" fmla="*/ 3234684 w 3471070"/>
                <a:gd name="connsiteY90" fmla="*/ 3098800 h 3403600"/>
                <a:gd name="connsiteX91" fmla="*/ 2993384 w 3471070"/>
                <a:gd name="connsiteY91" fmla="*/ 3194050 h 3403600"/>
                <a:gd name="connsiteX92" fmla="*/ 2815584 w 3471070"/>
                <a:gd name="connsiteY92" fmla="*/ 3136900 h 3403600"/>
                <a:gd name="connsiteX93" fmla="*/ 2669534 w 3471070"/>
                <a:gd name="connsiteY93" fmla="*/ 3397250 h 3403600"/>
                <a:gd name="connsiteX94" fmla="*/ 2275834 w 3471070"/>
                <a:gd name="connsiteY94" fmla="*/ 3403600 h 3403600"/>
                <a:gd name="connsiteX95" fmla="*/ 2142484 w 3471070"/>
                <a:gd name="connsiteY95" fmla="*/ 3302000 h 3403600"/>
                <a:gd name="connsiteX96" fmla="*/ 2091684 w 3471070"/>
                <a:gd name="connsiteY96" fmla="*/ 3308350 h 3403600"/>
                <a:gd name="connsiteX97" fmla="*/ 1964684 w 3471070"/>
                <a:gd name="connsiteY97" fmla="*/ 3371850 h 3403600"/>
                <a:gd name="connsiteX98" fmla="*/ 1907534 w 3471070"/>
                <a:gd name="connsiteY98" fmla="*/ 3314700 h 3403600"/>
                <a:gd name="connsiteX99" fmla="*/ 1926584 w 3471070"/>
                <a:gd name="connsiteY99" fmla="*/ 3155950 h 3403600"/>
                <a:gd name="connsiteX100" fmla="*/ 1875784 w 3471070"/>
                <a:gd name="connsiteY100" fmla="*/ 3054350 h 3403600"/>
                <a:gd name="connsiteX101" fmla="*/ 1831334 w 3471070"/>
                <a:gd name="connsiteY101" fmla="*/ 3054350 h 3403600"/>
                <a:gd name="connsiteX102" fmla="*/ 1824984 w 3471070"/>
                <a:gd name="connsiteY102" fmla="*/ 2971800 h 3403600"/>
                <a:gd name="connsiteX103" fmla="*/ 1901184 w 3471070"/>
                <a:gd name="connsiteY103" fmla="*/ 2889250 h 3403600"/>
                <a:gd name="connsiteX104" fmla="*/ 1882134 w 3471070"/>
                <a:gd name="connsiteY104" fmla="*/ 2635250 h 3403600"/>
                <a:gd name="connsiteX105" fmla="*/ 1799584 w 3471070"/>
                <a:gd name="connsiteY105" fmla="*/ 2628900 h 3403600"/>
                <a:gd name="connsiteX106" fmla="*/ 1424934 w 3471070"/>
                <a:gd name="connsiteY106" fmla="*/ 2413000 h 3403600"/>
                <a:gd name="connsiteX107" fmla="*/ 1348734 w 3471070"/>
                <a:gd name="connsiteY107" fmla="*/ 2489200 h 3403600"/>
                <a:gd name="connsiteX108" fmla="*/ 1247134 w 3471070"/>
                <a:gd name="connsiteY108" fmla="*/ 2400300 h 3403600"/>
                <a:gd name="connsiteX109" fmla="*/ 1183634 w 3471070"/>
                <a:gd name="connsiteY109" fmla="*/ 2432050 h 3403600"/>
                <a:gd name="connsiteX110" fmla="*/ 1005834 w 3471070"/>
                <a:gd name="connsiteY110" fmla="*/ 2184400 h 3403600"/>
                <a:gd name="connsiteX111" fmla="*/ 1062984 w 3471070"/>
                <a:gd name="connsiteY111" fmla="*/ 1809750 h 3403600"/>
                <a:gd name="connsiteX112" fmla="*/ 1094734 w 3471070"/>
                <a:gd name="connsiteY112" fmla="*/ 1689100 h 3403600"/>
                <a:gd name="connsiteX113" fmla="*/ 1012184 w 3471070"/>
                <a:gd name="connsiteY113" fmla="*/ 1619250 h 3403600"/>
                <a:gd name="connsiteX114" fmla="*/ 974084 w 3471070"/>
                <a:gd name="connsiteY114" fmla="*/ 1682750 h 3403600"/>
                <a:gd name="connsiteX115" fmla="*/ 923284 w 3471070"/>
                <a:gd name="connsiteY115" fmla="*/ 1619250 h 3403600"/>
                <a:gd name="connsiteX116" fmla="*/ 942334 w 3471070"/>
                <a:gd name="connsiteY116" fmla="*/ 1492250 h 3403600"/>
                <a:gd name="connsiteX117" fmla="*/ 1024884 w 3471070"/>
                <a:gd name="connsiteY117" fmla="*/ 1435100 h 3403600"/>
                <a:gd name="connsiteX118" fmla="*/ 980434 w 3471070"/>
                <a:gd name="connsiteY118" fmla="*/ 1276350 h 3403600"/>
                <a:gd name="connsiteX119" fmla="*/ 1037584 w 3471070"/>
                <a:gd name="connsiteY119" fmla="*/ 1181100 h 3403600"/>
                <a:gd name="connsiteX120" fmla="*/ 993134 w 3471070"/>
                <a:gd name="connsiteY120" fmla="*/ 1092200 h 3403600"/>
                <a:gd name="connsiteX121" fmla="*/ 923284 w 3471070"/>
                <a:gd name="connsiteY121" fmla="*/ 1117600 h 3403600"/>
                <a:gd name="connsiteX122" fmla="*/ 897884 w 3471070"/>
                <a:gd name="connsiteY122" fmla="*/ 1060450 h 3403600"/>
                <a:gd name="connsiteX123" fmla="*/ 764534 w 3471070"/>
                <a:gd name="connsiteY123" fmla="*/ 1073150 h 3403600"/>
                <a:gd name="connsiteX124" fmla="*/ 618484 w 3471070"/>
                <a:gd name="connsiteY124" fmla="*/ 1009650 h 3403600"/>
                <a:gd name="connsiteX125" fmla="*/ 650234 w 3471070"/>
                <a:gd name="connsiteY125" fmla="*/ 939800 h 3403600"/>
                <a:gd name="connsiteX126" fmla="*/ 574034 w 3471070"/>
                <a:gd name="connsiteY126" fmla="*/ 895350 h 3403600"/>
                <a:gd name="connsiteX127" fmla="*/ 485134 w 3471070"/>
                <a:gd name="connsiteY127" fmla="*/ 889000 h 3403600"/>
                <a:gd name="connsiteX128" fmla="*/ 377184 w 3471070"/>
                <a:gd name="connsiteY128" fmla="*/ 838200 h 3403600"/>
                <a:gd name="connsiteX129" fmla="*/ 362921 w 3471070"/>
                <a:gd name="connsiteY129" fmla="*/ 843610 h 3403600"/>
                <a:gd name="connsiteX130" fmla="*/ 381352 w 3471070"/>
                <a:gd name="connsiteY130" fmla="*/ 825179 h 3403600"/>
                <a:gd name="connsiteX131" fmla="*/ 292452 w 3471070"/>
                <a:gd name="connsiteY131" fmla="*/ 799779 h 3403600"/>
                <a:gd name="connsiteX132" fmla="*/ 248002 w 3471070"/>
                <a:gd name="connsiteY132" fmla="*/ 768029 h 3403600"/>
                <a:gd name="connsiteX133" fmla="*/ 140052 w 3471070"/>
                <a:gd name="connsiteY133" fmla="*/ 825179 h 3403600"/>
                <a:gd name="connsiteX134" fmla="*/ 352 w 3471070"/>
                <a:gd name="connsiteY134" fmla="*/ 691830 h 3403600"/>
                <a:gd name="connsiteX135" fmla="*/ 0 w 3471070"/>
                <a:gd name="connsiteY135" fmla="*/ 689363 h 3403600"/>
                <a:gd name="connsiteX136" fmla="*/ 2533 w 3471070"/>
                <a:gd name="connsiteY136" fmla="*/ 685800 h 3403600"/>
                <a:gd name="connsiteX137" fmla="*/ 212083 w 3471070"/>
                <a:gd name="connsiteY137" fmla="*/ 709613 h 3403600"/>
                <a:gd name="connsiteX138" fmla="*/ 212083 w 3471070"/>
                <a:gd name="connsiteY138" fmla="*/ 671513 h 3403600"/>
                <a:gd name="connsiteX139" fmla="*/ 340670 w 3471070"/>
                <a:gd name="connsiteY139" fmla="*/ 695325 h 3403600"/>
                <a:gd name="connsiteX140" fmla="*/ 359720 w 3471070"/>
                <a:gd name="connsiteY140" fmla="*/ 581025 h 3403600"/>
                <a:gd name="connsiteX141" fmla="*/ 488308 w 3471070"/>
                <a:gd name="connsiteY141" fmla="*/ 504825 h 3403600"/>
                <a:gd name="connsiteX142" fmla="*/ 526408 w 3471070"/>
                <a:gd name="connsiteY142" fmla="*/ 552450 h 3403600"/>
                <a:gd name="connsiteX143" fmla="*/ 759770 w 3471070"/>
                <a:gd name="connsiteY143" fmla="*/ 447675 h 3403600"/>
                <a:gd name="connsiteX144" fmla="*/ 840733 w 3471070"/>
                <a:gd name="connsiteY144" fmla="*/ 323850 h 3403600"/>
                <a:gd name="connsiteX145" fmla="*/ 988370 w 3471070"/>
                <a:gd name="connsiteY145" fmla="*/ 333375 h 3403600"/>
                <a:gd name="connsiteX146" fmla="*/ 1169345 w 3471070"/>
                <a:gd name="connsiteY146" fmla="*/ 419100 h 3403600"/>
                <a:gd name="connsiteX147" fmla="*/ 1221733 w 3471070"/>
                <a:gd name="connsiteY147" fmla="*/ 500063 h 3403600"/>
                <a:gd name="connsiteX148" fmla="*/ 1369370 w 3471070"/>
                <a:gd name="connsiteY148" fmla="*/ 504825 h 3403600"/>
                <a:gd name="connsiteX149" fmla="*/ 1431283 w 3471070"/>
                <a:gd name="connsiteY149" fmla="*/ 481013 h 3403600"/>
                <a:gd name="connsiteX150" fmla="*/ 1517008 w 3471070"/>
                <a:gd name="connsiteY150" fmla="*/ 585788 h 3403600"/>
                <a:gd name="connsiteX151" fmla="*/ 1678933 w 3471070"/>
                <a:gd name="connsiteY151" fmla="*/ 585788 h 3403600"/>
                <a:gd name="connsiteX152" fmla="*/ 1731320 w 3471070"/>
                <a:gd name="connsiteY152" fmla="*/ 628650 h 3403600"/>
                <a:gd name="connsiteX153" fmla="*/ 1874195 w 3471070"/>
                <a:gd name="connsiteY153" fmla="*/ 509588 h 3403600"/>
                <a:gd name="connsiteX154" fmla="*/ 1912295 w 3471070"/>
                <a:gd name="connsiteY154" fmla="*/ 500063 h 3403600"/>
                <a:gd name="connsiteX155" fmla="*/ 1959920 w 3471070"/>
                <a:gd name="connsiteY155" fmla="*/ 552450 h 3403600"/>
                <a:gd name="connsiteX156" fmla="*/ 2017070 w 3471070"/>
                <a:gd name="connsiteY156" fmla="*/ 457200 h 3403600"/>
                <a:gd name="connsiteX157" fmla="*/ 2078983 w 3471070"/>
                <a:gd name="connsiteY157" fmla="*/ 457200 h 3403600"/>
                <a:gd name="connsiteX158" fmla="*/ 2117083 w 3471070"/>
                <a:gd name="connsiteY158" fmla="*/ 514350 h 3403600"/>
                <a:gd name="connsiteX159" fmla="*/ 2240908 w 3471070"/>
                <a:gd name="connsiteY159" fmla="*/ 371475 h 3403600"/>
                <a:gd name="connsiteX160" fmla="*/ 2264720 w 3471070"/>
                <a:gd name="connsiteY160" fmla="*/ 266700 h 3403600"/>
                <a:gd name="connsiteX161" fmla="*/ 2345683 w 3471070"/>
                <a:gd name="connsiteY161" fmla="*/ 233363 h 3403600"/>
                <a:gd name="connsiteX162" fmla="*/ 2440933 w 3471070"/>
                <a:gd name="connsiteY162" fmla="*/ 123825 h 3403600"/>
                <a:gd name="connsiteX163" fmla="*/ 2502845 w 3471070"/>
                <a:gd name="connsiteY163" fmla="*/ 142875 h 3403600"/>
                <a:gd name="connsiteX164" fmla="*/ 2512370 w 3471070"/>
                <a:gd name="connsiteY164" fmla="*/ 95250 h 340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</a:cxnLst>
              <a:rect l="l" t="t" r="r" b="b"/>
              <a:pathLst>
                <a:path w="3471070" h="3403600">
                  <a:moveTo>
                    <a:pt x="2162328" y="1393031"/>
                  </a:moveTo>
                  <a:lnTo>
                    <a:pt x="2152803" y="1419225"/>
                  </a:lnTo>
                  <a:lnTo>
                    <a:pt x="2169471" y="1435894"/>
                  </a:lnTo>
                  <a:lnTo>
                    <a:pt x="2136134" y="1452563"/>
                  </a:lnTo>
                  <a:lnTo>
                    <a:pt x="2107559" y="1435894"/>
                  </a:lnTo>
                  <a:lnTo>
                    <a:pt x="2076603" y="1481138"/>
                  </a:lnTo>
                  <a:lnTo>
                    <a:pt x="2021834" y="1473994"/>
                  </a:lnTo>
                  <a:lnTo>
                    <a:pt x="2002784" y="1409700"/>
                  </a:lnTo>
                  <a:lnTo>
                    <a:pt x="1981353" y="1476375"/>
                  </a:lnTo>
                  <a:lnTo>
                    <a:pt x="1943253" y="1469231"/>
                  </a:lnTo>
                  <a:lnTo>
                    <a:pt x="1921821" y="1500188"/>
                  </a:lnTo>
                  <a:lnTo>
                    <a:pt x="1945634" y="1533525"/>
                  </a:lnTo>
                  <a:lnTo>
                    <a:pt x="1881340" y="1516856"/>
                  </a:lnTo>
                  <a:lnTo>
                    <a:pt x="1857528" y="1531144"/>
                  </a:lnTo>
                  <a:lnTo>
                    <a:pt x="1878959" y="1583531"/>
                  </a:lnTo>
                  <a:lnTo>
                    <a:pt x="1836096" y="1640681"/>
                  </a:lnTo>
                  <a:lnTo>
                    <a:pt x="1888484" y="1647825"/>
                  </a:lnTo>
                  <a:lnTo>
                    <a:pt x="1831334" y="1719263"/>
                  </a:lnTo>
                  <a:lnTo>
                    <a:pt x="1852765" y="1754981"/>
                  </a:lnTo>
                  <a:lnTo>
                    <a:pt x="1817046" y="1790700"/>
                  </a:lnTo>
                  <a:lnTo>
                    <a:pt x="1850384" y="1854994"/>
                  </a:lnTo>
                  <a:lnTo>
                    <a:pt x="1890865" y="1828800"/>
                  </a:lnTo>
                  <a:lnTo>
                    <a:pt x="1964684" y="1790700"/>
                  </a:lnTo>
                  <a:lnTo>
                    <a:pt x="1974209" y="1824038"/>
                  </a:lnTo>
                  <a:lnTo>
                    <a:pt x="2024215" y="1802606"/>
                  </a:lnTo>
                  <a:lnTo>
                    <a:pt x="2031359" y="1826419"/>
                  </a:lnTo>
                  <a:lnTo>
                    <a:pt x="2059934" y="1804988"/>
                  </a:lnTo>
                  <a:lnTo>
                    <a:pt x="2114703" y="1862138"/>
                  </a:lnTo>
                  <a:lnTo>
                    <a:pt x="2136134" y="1857375"/>
                  </a:lnTo>
                  <a:lnTo>
                    <a:pt x="2131371" y="1807369"/>
                  </a:lnTo>
                  <a:lnTo>
                    <a:pt x="2169471" y="1790700"/>
                  </a:lnTo>
                  <a:lnTo>
                    <a:pt x="2176615" y="1828800"/>
                  </a:lnTo>
                  <a:lnTo>
                    <a:pt x="2236146" y="1821656"/>
                  </a:lnTo>
                  <a:lnTo>
                    <a:pt x="2245671" y="1850231"/>
                  </a:lnTo>
                  <a:lnTo>
                    <a:pt x="2302821" y="1845469"/>
                  </a:lnTo>
                  <a:lnTo>
                    <a:pt x="2343303" y="1859756"/>
                  </a:lnTo>
                  <a:lnTo>
                    <a:pt x="2343303" y="1926431"/>
                  </a:lnTo>
                  <a:lnTo>
                    <a:pt x="2398071" y="1866900"/>
                  </a:lnTo>
                  <a:lnTo>
                    <a:pt x="2390928" y="1835944"/>
                  </a:lnTo>
                  <a:lnTo>
                    <a:pt x="2433790" y="1816894"/>
                  </a:lnTo>
                  <a:lnTo>
                    <a:pt x="2429028" y="1764506"/>
                  </a:lnTo>
                  <a:lnTo>
                    <a:pt x="2455221" y="1764506"/>
                  </a:lnTo>
                  <a:lnTo>
                    <a:pt x="2455221" y="1735931"/>
                  </a:lnTo>
                  <a:lnTo>
                    <a:pt x="2398071" y="1719263"/>
                  </a:lnTo>
                  <a:lnTo>
                    <a:pt x="2336159" y="1702594"/>
                  </a:lnTo>
                  <a:lnTo>
                    <a:pt x="2312346" y="1714500"/>
                  </a:lnTo>
                  <a:lnTo>
                    <a:pt x="2329015" y="1647825"/>
                  </a:lnTo>
                  <a:lnTo>
                    <a:pt x="2359971" y="1619250"/>
                  </a:lnTo>
                  <a:lnTo>
                    <a:pt x="2326634" y="1593056"/>
                  </a:lnTo>
                  <a:lnTo>
                    <a:pt x="2274246" y="1588294"/>
                  </a:lnTo>
                  <a:lnTo>
                    <a:pt x="2279009" y="1552575"/>
                  </a:lnTo>
                  <a:lnTo>
                    <a:pt x="2212334" y="1519238"/>
                  </a:lnTo>
                  <a:lnTo>
                    <a:pt x="2195665" y="1488281"/>
                  </a:lnTo>
                  <a:lnTo>
                    <a:pt x="2224240" y="1447800"/>
                  </a:lnTo>
                  <a:lnTo>
                    <a:pt x="2190903" y="1421606"/>
                  </a:lnTo>
                  <a:lnTo>
                    <a:pt x="2195665" y="1393031"/>
                  </a:lnTo>
                  <a:close/>
                  <a:moveTo>
                    <a:pt x="2493320" y="0"/>
                  </a:moveTo>
                  <a:lnTo>
                    <a:pt x="2540945" y="52388"/>
                  </a:lnTo>
                  <a:lnTo>
                    <a:pt x="2579045" y="104775"/>
                  </a:lnTo>
                  <a:lnTo>
                    <a:pt x="2617145" y="219075"/>
                  </a:lnTo>
                  <a:lnTo>
                    <a:pt x="2760020" y="223838"/>
                  </a:lnTo>
                  <a:lnTo>
                    <a:pt x="2812408" y="180975"/>
                  </a:lnTo>
                  <a:lnTo>
                    <a:pt x="2926708" y="209550"/>
                  </a:lnTo>
                  <a:lnTo>
                    <a:pt x="2912420" y="300038"/>
                  </a:lnTo>
                  <a:lnTo>
                    <a:pt x="2788595" y="471488"/>
                  </a:lnTo>
                  <a:lnTo>
                    <a:pt x="2907658" y="481013"/>
                  </a:lnTo>
                  <a:lnTo>
                    <a:pt x="2960045" y="447675"/>
                  </a:lnTo>
                  <a:lnTo>
                    <a:pt x="3002908" y="390525"/>
                  </a:lnTo>
                  <a:lnTo>
                    <a:pt x="3060058" y="361950"/>
                  </a:lnTo>
                  <a:lnTo>
                    <a:pt x="3168735" y="290270"/>
                  </a:lnTo>
                  <a:lnTo>
                    <a:pt x="3157321" y="529999"/>
                  </a:lnTo>
                  <a:lnTo>
                    <a:pt x="3031821" y="796687"/>
                  </a:lnTo>
                  <a:lnTo>
                    <a:pt x="2890634" y="953561"/>
                  </a:lnTo>
                  <a:lnTo>
                    <a:pt x="2827884" y="1094749"/>
                  </a:lnTo>
                  <a:lnTo>
                    <a:pt x="2906321" y="1141811"/>
                  </a:lnTo>
                  <a:lnTo>
                    <a:pt x="3063196" y="1267311"/>
                  </a:lnTo>
                  <a:lnTo>
                    <a:pt x="3267133" y="1392811"/>
                  </a:lnTo>
                  <a:lnTo>
                    <a:pt x="3376945" y="1518310"/>
                  </a:lnTo>
                  <a:lnTo>
                    <a:pt x="3314195" y="1706560"/>
                  </a:lnTo>
                  <a:lnTo>
                    <a:pt x="3282820" y="1816373"/>
                  </a:lnTo>
                  <a:lnTo>
                    <a:pt x="3251445" y="2020310"/>
                  </a:lnTo>
                  <a:lnTo>
                    <a:pt x="3424007" y="2161497"/>
                  </a:lnTo>
                  <a:lnTo>
                    <a:pt x="3471070" y="2365434"/>
                  </a:lnTo>
                  <a:lnTo>
                    <a:pt x="3376945" y="2490934"/>
                  </a:lnTo>
                  <a:lnTo>
                    <a:pt x="3251445" y="2757621"/>
                  </a:lnTo>
                  <a:lnTo>
                    <a:pt x="3376945" y="2883121"/>
                  </a:lnTo>
                  <a:lnTo>
                    <a:pt x="3439695" y="2992933"/>
                  </a:lnTo>
                  <a:lnTo>
                    <a:pt x="3444650" y="3067258"/>
                  </a:lnTo>
                  <a:lnTo>
                    <a:pt x="3418834" y="3054350"/>
                  </a:lnTo>
                  <a:lnTo>
                    <a:pt x="3253734" y="3136900"/>
                  </a:lnTo>
                  <a:lnTo>
                    <a:pt x="3234684" y="3098800"/>
                  </a:lnTo>
                  <a:lnTo>
                    <a:pt x="2993384" y="3194050"/>
                  </a:lnTo>
                  <a:lnTo>
                    <a:pt x="2815584" y="3136900"/>
                  </a:lnTo>
                  <a:lnTo>
                    <a:pt x="2669534" y="3397250"/>
                  </a:lnTo>
                  <a:lnTo>
                    <a:pt x="2275834" y="3403600"/>
                  </a:lnTo>
                  <a:lnTo>
                    <a:pt x="2142484" y="3302000"/>
                  </a:lnTo>
                  <a:lnTo>
                    <a:pt x="2091684" y="3308350"/>
                  </a:lnTo>
                  <a:lnTo>
                    <a:pt x="1964684" y="3371850"/>
                  </a:lnTo>
                  <a:lnTo>
                    <a:pt x="1907534" y="3314700"/>
                  </a:lnTo>
                  <a:lnTo>
                    <a:pt x="1926584" y="3155950"/>
                  </a:lnTo>
                  <a:lnTo>
                    <a:pt x="1875784" y="3054350"/>
                  </a:lnTo>
                  <a:lnTo>
                    <a:pt x="1831334" y="3054350"/>
                  </a:lnTo>
                  <a:lnTo>
                    <a:pt x="1824984" y="2971800"/>
                  </a:lnTo>
                  <a:lnTo>
                    <a:pt x="1901184" y="2889250"/>
                  </a:lnTo>
                  <a:lnTo>
                    <a:pt x="1882134" y="2635250"/>
                  </a:lnTo>
                  <a:lnTo>
                    <a:pt x="1799584" y="2628900"/>
                  </a:lnTo>
                  <a:lnTo>
                    <a:pt x="1424934" y="2413000"/>
                  </a:lnTo>
                  <a:lnTo>
                    <a:pt x="1348734" y="2489200"/>
                  </a:lnTo>
                  <a:lnTo>
                    <a:pt x="1247134" y="2400300"/>
                  </a:lnTo>
                  <a:lnTo>
                    <a:pt x="1183634" y="2432050"/>
                  </a:lnTo>
                  <a:lnTo>
                    <a:pt x="1005834" y="2184400"/>
                  </a:lnTo>
                  <a:lnTo>
                    <a:pt x="1062984" y="1809750"/>
                  </a:lnTo>
                  <a:lnTo>
                    <a:pt x="1094734" y="1689100"/>
                  </a:lnTo>
                  <a:lnTo>
                    <a:pt x="1012184" y="1619250"/>
                  </a:lnTo>
                  <a:lnTo>
                    <a:pt x="974084" y="1682750"/>
                  </a:lnTo>
                  <a:lnTo>
                    <a:pt x="923284" y="1619250"/>
                  </a:lnTo>
                  <a:lnTo>
                    <a:pt x="942334" y="1492250"/>
                  </a:lnTo>
                  <a:lnTo>
                    <a:pt x="1024884" y="1435100"/>
                  </a:lnTo>
                  <a:lnTo>
                    <a:pt x="980434" y="1276350"/>
                  </a:lnTo>
                  <a:lnTo>
                    <a:pt x="1037584" y="1181100"/>
                  </a:lnTo>
                  <a:lnTo>
                    <a:pt x="993134" y="1092200"/>
                  </a:lnTo>
                  <a:lnTo>
                    <a:pt x="923284" y="1117600"/>
                  </a:lnTo>
                  <a:lnTo>
                    <a:pt x="897884" y="1060450"/>
                  </a:lnTo>
                  <a:lnTo>
                    <a:pt x="764534" y="1073150"/>
                  </a:lnTo>
                  <a:lnTo>
                    <a:pt x="618484" y="1009650"/>
                  </a:lnTo>
                  <a:lnTo>
                    <a:pt x="650234" y="939800"/>
                  </a:lnTo>
                  <a:lnTo>
                    <a:pt x="574034" y="895350"/>
                  </a:lnTo>
                  <a:lnTo>
                    <a:pt x="485134" y="889000"/>
                  </a:lnTo>
                  <a:lnTo>
                    <a:pt x="377184" y="838200"/>
                  </a:lnTo>
                  <a:lnTo>
                    <a:pt x="362921" y="843610"/>
                  </a:lnTo>
                  <a:lnTo>
                    <a:pt x="381352" y="825179"/>
                  </a:lnTo>
                  <a:lnTo>
                    <a:pt x="292452" y="799779"/>
                  </a:lnTo>
                  <a:lnTo>
                    <a:pt x="248002" y="768029"/>
                  </a:lnTo>
                  <a:lnTo>
                    <a:pt x="140052" y="825179"/>
                  </a:lnTo>
                  <a:lnTo>
                    <a:pt x="352" y="691830"/>
                  </a:lnTo>
                  <a:cubicBezTo>
                    <a:pt x="235" y="691008"/>
                    <a:pt x="117" y="690185"/>
                    <a:pt x="0" y="689363"/>
                  </a:cubicBezTo>
                  <a:lnTo>
                    <a:pt x="2533" y="685800"/>
                  </a:lnTo>
                  <a:lnTo>
                    <a:pt x="212083" y="709613"/>
                  </a:lnTo>
                  <a:lnTo>
                    <a:pt x="212083" y="671513"/>
                  </a:lnTo>
                  <a:lnTo>
                    <a:pt x="340670" y="695325"/>
                  </a:lnTo>
                  <a:lnTo>
                    <a:pt x="359720" y="581025"/>
                  </a:lnTo>
                  <a:lnTo>
                    <a:pt x="488308" y="504825"/>
                  </a:lnTo>
                  <a:lnTo>
                    <a:pt x="526408" y="552450"/>
                  </a:lnTo>
                  <a:lnTo>
                    <a:pt x="759770" y="447675"/>
                  </a:lnTo>
                  <a:lnTo>
                    <a:pt x="840733" y="323850"/>
                  </a:lnTo>
                  <a:lnTo>
                    <a:pt x="988370" y="333375"/>
                  </a:lnTo>
                  <a:lnTo>
                    <a:pt x="1169345" y="419100"/>
                  </a:lnTo>
                  <a:lnTo>
                    <a:pt x="1221733" y="500063"/>
                  </a:lnTo>
                  <a:lnTo>
                    <a:pt x="1369370" y="504825"/>
                  </a:lnTo>
                  <a:lnTo>
                    <a:pt x="1431283" y="481013"/>
                  </a:lnTo>
                  <a:lnTo>
                    <a:pt x="1517008" y="585788"/>
                  </a:lnTo>
                  <a:lnTo>
                    <a:pt x="1678933" y="585788"/>
                  </a:lnTo>
                  <a:lnTo>
                    <a:pt x="1731320" y="628650"/>
                  </a:lnTo>
                  <a:lnTo>
                    <a:pt x="1874195" y="509588"/>
                  </a:lnTo>
                  <a:lnTo>
                    <a:pt x="1912295" y="500063"/>
                  </a:lnTo>
                  <a:lnTo>
                    <a:pt x="1959920" y="552450"/>
                  </a:lnTo>
                  <a:lnTo>
                    <a:pt x="2017070" y="457200"/>
                  </a:lnTo>
                  <a:lnTo>
                    <a:pt x="2078983" y="457200"/>
                  </a:lnTo>
                  <a:lnTo>
                    <a:pt x="2117083" y="514350"/>
                  </a:lnTo>
                  <a:lnTo>
                    <a:pt x="2240908" y="371475"/>
                  </a:lnTo>
                  <a:lnTo>
                    <a:pt x="2264720" y="266700"/>
                  </a:lnTo>
                  <a:lnTo>
                    <a:pt x="2345683" y="233363"/>
                  </a:lnTo>
                  <a:lnTo>
                    <a:pt x="2440933" y="123825"/>
                  </a:lnTo>
                  <a:lnTo>
                    <a:pt x="2502845" y="142875"/>
                  </a:lnTo>
                  <a:lnTo>
                    <a:pt x="2512370" y="95250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_Map_Berlin">
              <a:extLst>
                <a:ext uri="{FF2B5EF4-FFF2-40B4-BE49-F238E27FC236}">
                  <a16:creationId xmlns:a16="http://schemas.microsoft.com/office/drawing/2014/main" id="{868F07C2-6D93-4C36-B40A-AD24E96CBBED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2873025" y="3142734"/>
              <a:ext cx="228925" cy="191341"/>
            </a:xfrm>
            <a:custGeom>
              <a:avLst/>
              <a:gdLst>
                <a:gd name="connsiteX0" fmla="*/ 185738 w 638175"/>
                <a:gd name="connsiteY0" fmla="*/ 16669 h 533400"/>
                <a:gd name="connsiteX1" fmla="*/ 164307 w 638175"/>
                <a:gd name="connsiteY1" fmla="*/ 83344 h 533400"/>
                <a:gd name="connsiteX2" fmla="*/ 126207 w 638175"/>
                <a:gd name="connsiteY2" fmla="*/ 76200 h 533400"/>
                <a:gd name="connsiteX3" fmla="*/ 104775 w 638175"/>
                <a:gd name="connsiteY3" fmla="*/ 107157 h 533400"/>
                <a:gd name="connsiteX4" fmla="*/ 128588 w 638175"/>
                <a:gd name="connsiteY4" fmla="*/ 140494 h 533400"/>
                <a:gd name="connsiteX5" fmla="*/ 64294 w 638175"/>
                <a:gd name="connsiteY5" fmla="*/ 123825 h 533400"/>
                <a:gd name="connsiteX6" fmla="*/ 40482 w 638175"/>
                <a:gd name="connsiteY6" fmla="*/ 138113 h 533400"/>
                <a:gd name="connsiteX7" fmla="*/ 61913 w 638175"/>
                <a:gd name="connsiteY7" fmla="*/ 190500 h 533400"/>
                <a:gd name="connsiteX8" fmla="*/ 19050 w 638175"/>
                <a:gd name="connsiteY8" fmla="*/ 247650 h 533400"/>
                <a:gd name="connsiteX9" fmla="*/ 71438 w 638175"/>
                <a:gd name="connsiteY9" fmla="*/ 254794 h 533400"/>
                <a:gd name="connsiteX10" fmla="*/ 14288 w 638175"/>
                <a:gd name="connsiteY10" fmla="*/ 326232 h 533400"/>
                <a:gd name="connsiteX11" fmla="*/ 35719 w 638175"/>
                <a:gd name="connsiteY11" fmla="*/ 361950 h 533400"/>
                <a:gd name="connsiteX12" fmla="*/ 0 w 638175"/>
                <a:gd name="connsiteY12" fmla="*/ 397669 h 533400"/>
                <a:gd name="connsiteX13" fmla="*/ 33338 w 638175"/>
                <a:gd name="connsiteY13" fmla="*/ 461963 h 533400"/>
                <a:gd name="connsiteX14" fmla="*/ 73819 w 638175"/>
                <a:gd name="connsiteY14" fmla="*/ 435769 h 533400"/>
                <a:gd name="connsiteX15" fmla="*/ 147638 w 638175"/>
                <a:gd name="connsiteY15" fmla="*/ 397669 h 533400"/>
                <a:gd name="connsiteX16" fmla="*/ 157163 w 638175"/>
                <a:gd name="connsiteY16" fmla="*/ 431007 h 533400"/>
                <a:gd name="connsiteX17" fmla="*/ 207169 w 638175"/>
                <a:gd name="connsiteY17" fmla="*/ 409575 h 533400"/>
                <a:gd name="connsiteX18" fmla="*/ 214313 w 638175"/>
                <a:gd name="connsiteY18" fmla="*/ 433388 h 533400"/>
                <a:gd name="connsiteX19" fmla="*/ 242888 w 638175"/>
                <a:gd name="connsiteY19" fmla="*/ 411957 h 533400"/>
                <a:gd name="connsiteX20" fmla="*/ 297657 w 638175"/>
                <a:gd name="connsiteY20" fmla="*/ 469107 h 533400"/>
                <a:gd name="connsiteX21" fmla="*/ 319088 w 638175"/>
                <a:gd name="connsiteY21" fmla="*/ 464344 h 533400"/>
                <a:gd name="connsiteX22" fmla="*/ 314325 w 638175"/>
                <a:gd name="connsiteY22" fmla="*/ 414338 h 533400"/>
                <a:gd name="connsiteX23" fmla="*/ 352425 w 638175"/>
                <a:gd name="connsiteY23" fmla="*/ 397669 h 533400"/>
                <a:gd name="connsiteX24" fmla="*/ 359569 w 638175"/>
                <a:gd name="connsiteY24" fmla="*/ 435769 h 533400"/>
                <a:gd name="connsiteX25" fmla="*/ 419100 w 638175"/>
                <a:gd name="connsiteY25" fmla="*/ 428625 h 533400"/>
                <a:gd name="connsiteX26" fmla="*/ 428625 w 638175"/>
                <a:gd name="connsiteY26" fmla="*/ 457200 h 533400"/>
                <a:gd name="connsiteX27" fmla="*/ 485775 w 638175"/>
                <a:gd name="connsiteY27" fmla="*/ 452438 h 533400"/>
                <a:gd name="connsiteX28" fmla="*/ 526257 w 638175"/>
                <a:gd name="connsiteY28" fmla="*/ 466725 h 533400"/>
                <a:gd name="connsiteX29" fmla="*/ 526257 w 638175"/>
                <a:gd name="connsiteY29" fmla="*/ 533400 h 533400"/>
                <a:gd name="connsiteX30" fmla="*/ 581025 w 638175"/>
                <a:gd name="connsiteY30" fmla="*/ 473869 h 533400"/>
                <a:gd name="connsiteX31" fmla="*/ 573882 w 638175"/>
                <a:gd name="connsiteY31" fmla="*/ 442913 h 533400"/>
                <a:gd name="connsiteX32" fmla="*/ 616744 w 638175"/>
                <a:gd name="connsiteY32" fmla="*/ 423863 h 533400"/>
                <a:gd name="connsiteX33" fmla="*/ 611982 w 638175"/>
                <a:gd name="connsiteY33" fmla="*/ 371475 h 533400"/>
                <a:gd name="connsiteX34" fmla="*/ 638175 w 638175"/>
                <a:gd name="connsiteY34" fmla="*/ 371475 h 533400"/>
                <a:gd name="connsiteX35" fmla="*/ 638175 w 638175"/>
                <a:gd name="connsiteY35" fmla="*/ 342900 h 533400"/>
                <a:gd name="connsiteX36" fmla="*/ 581025 w 638175"/>
                <a:gd name="connsiteY36" fmla="*/ 326232 h 533400"/>
                <a:gd name="connsiteX37" fmla="*/ 519113 w 638175"/>
                <a:gd name="connsiteY37" fmla="*/ 309563 h 533400"/>
                <a:gd name="connsiteX38" fmla="*/ 495300 w 638175"/>
                <a:gd name="connsiteY38" fmla="*/ 321469 h 533400"/>
                <a:gd name="connsiteX39" fmla="*/ 511969 w 638175"/>
                <a:gd name="connsiteY39" fmla="*/ 254794 h 533400"/>
                <a:gd name="connsiteX40" fmla="*/ 542925 w 638175"/>
                <a:gd name="connsiteY40" fmla="*/ 226219 h 533400"/>
                <a:gd name="connsiteX41" fmla="*/ 509588 w 638175"/>
                <a:gd name="connsiteY41" fmla="*/ 200025 h 533400"/>
                <a:gd name="connsiteX42" fmla="*/ 457200 w 638175"/>
                <a:gd name="connsiteY42" fmla="*/ 195263 h 533400"/>
                <a:gd name="connsiteX43" fmla="*/ 461963 w 638175"/>
                <a:gd name="connsiteY43" fmla="*/ 159544 h 533400"/>
                <a:gd name="connsiteX44" fmla="*/ 395288 w 638175"/>
                <a:gd name="connsiteY44" fmla="*/ 126207 h 533400"/>
                <a:gd name="connsiteX45" fmla="*/ 378619 w 638175"/>
                <a:gd name="connsiteY45" fmla="*/ 95250 h 533400"/>
                <a:gd name="connsiteX46" fmla="*/ 407194 w 638175"/>
                <a:gd name="connsiteY46" fmla="*/ 54769 h 533400"/>
                <a:gd name="connsiteX47" fmla="*/ 373857 w 638175"/>
                <a:gd name="connsiteY47" fmla="*/ 28575 h 533400"/>
                <a:gd name="connsiteX48" fmla="*/ 378619 w 638175"/>
                <a:gd name="connsiteY48" fmla="*/ 0 h 533400"/>
                <a:gd name="connsiteX49" fmla="*/ 345282 w 638175"/>
                <a:gd name="connsiteY49" fmla="*/ 0 h 533400"/>
                <a:gd name="connsiteX50" fmla="*/ 335757 w 638175"/>
                <a:gd name="connsiteY50" fmla="*/ 26194 h 533400"/>
                <a:gd name="connsiteX51" fmla="*/ 352425 w 638175"/>
                <a:gd name="connsiteY51" fmla="*/ 42863 h 533400"/>
                <a:gd name="connsiteX52" fmla="*/ 319088 w 638175"/>
                <a:gd name="connsiteY52" fmla="*/ 59532 h 533400"/>
                <a:gd name="connsiteX53" fmla="*/ 290513 w 638175"/>
                <a:gd name="connsiteY53" fmla="*/ 42863 h 533400"/>
                <a:gd name="connsiteX54" fmla="*/ 259557 w 638175"/>
                <a:gd name="connsiteY54" fmla="*/ 88107 h 533400"/>
                <a:gd name="connsiteX55" fmla="*/ 204788 w 638175"/>
                <a:gd name="connsiteY55" fmla="*/ 80963 h 533400"/>
                <a:gd name="connsiteX56" fmla="*/ 185738 w 638175"/>
                <a:gd name="connsiteY56" fmla="*/ 16669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638175" h="533400">
                  <a:moveTo>
                    <a:pt x="185738" y="16669"/>
                  </a:moveTo>
                  <a:lnTo>
                    <a:pt x="164307" y="83344"/>
                  </a:lnTo>
                  <a:lnTo>
                    <a:pt x="126207" y="76200"/>
                  </a:lnTo>
                  <a:lnTo>
                    <a:pt x="104775" y="107157"/>
                  </a:lnTo>
                  <a:lnTo>
                    <a:pt x="128588" y="140494"/>
                  </a:lnTo>
                  <a:lnTo>
                    <a:pt x="64294" y="123825"/>
                  </a:lnTo>
                  <a:lnTo>
                    <a:pt x="40482" y="138113"/>
                  </a:lnTo>
                  <a:lnTo>
                    <a:pt x="61913" y="190500"/>
                  </a:lnTo>
                  <a:lnTo>
                    <a:pt x="19050" y="247650"/>
                  </a:lnTo>
                  <a:lnTo>
                    <a:pt x="71438" y="254794"/>
                  </a:lnTo>
                  <a:lnTo>
                    <a:pt x="14288" y="326232"/>
                  </a:lnTo>
                  <a:lnTo>
                    <a:pt x="35719" y="361950"/>
                  </a:lnTo>
                  <a:lnTo>
                    <a:pt x="0" y="397669"/>
                  </a:lnTo>
                  <a:lnTo>
                    <a:pt x="33338" y="461963"/>
                  </a:lnTo>
                  <a:lnTo>
                    <a:pt x="73819" y="435769"/>
                  </a:lnTo>
                  <a:lnTo>
                    <a:pt x="147638" y="397669"/>
                  </a:lnTo>
                  <a:lnTo>
                    <a:pt x="157163" y="431007"/>
                  </a:lnTo>
                  <a:lnTo>
                    <a:pt x="207169" y="409575"/>
                  </a:lnTo>
                  <a:lnTo>
                    <a:pt x="214313" y="433388"/>
                  </a:lnTo>
                  <a:lnTo>
                    <a:pt x="242888" y="411957"/>
                  </a:lnTo>
                  <a:lnTo>
                    <a:pt x="297657" y="469107"/>
                  </a:lnTo>
                  <a:lnTo>
                    <a:pt x="319088" y="464344"/>
                  </a:lnTo>
                  <a:lnTo>
                    <a:pt x="314325" y="414338"/>
                  </a:lnTo>
                  <a:lnTo>
                    <a:pt x="352425" y="397669"/>
                  </a:lnTo>
                  <a:lnTo>
                    <a:pt x="359569" y="435769"/>
                  </a:lnTo>
                  <a:lnTo>
                    <a:pt x="419100" y="428625"/>
                  </a:lnTo>
                  <a:lnTo>
                    <a:pt x="428625" y="457200"/>
                  </a:lnTo>
                  <a:lnTo>
                    <a:pt x="485775" y="452438"/>
                  </a:lnTo>
                  <a:lnTo>
                    <a:pt x="526257" y="466725"/>
                  </a:lnTo>
                  <a:lnTo>
                    <a:pt x="526257" y="533400"/>
                  </a:lnTo>
                  <a:lnTo>
                    <a:pt x="581025" y="473869"/>
                  </a:lnTo>
                  <a:lnTo>
                    <a:pt x="573882" y="442913"/>
                  </a:lnTo>
                  <a:lnTo>
                    <a:pt x="616744" y="423863"/>
                  </a:lnTo>
                  <a:lnTo>
                    <a:pt x="611982" y="371475"/>
                  </a:lnTo>
                  <a:lnTo>
                    <a:pt x="638175" y="371475"/>
                  </a:lnTo>
                  <a:lnTo>
                    <a:pt x="638175" y="342900"/>
                  </a:lnTo>
                  <a:lnTo>
                    <a:pt x="581025" y="326232"/>
                  </a:lnTo>
                  <a:lnTo>
                    <a:pt x="519113" y="309563"/>
                  </a:lnTo>
                  <a:lnTo>
                    <a:pt x="495300" y="321469"/>
                  </a:lnTo>
                  <a:lnTo>
                    <a:pt x="511969" y="254794"/>
                  </a:lnTo>
                  <a:lnTo>
                    <a:pt x="542925" y="226219"/>
                  </a:lnTo>
                  <a:lnTo>
                    <a:pt x="509588" y="200025"/>
                  </a:lnTo>
                  <a:lnTo>
                    <a:pt x="457200" y="195263"/>
                  </a:lnTo>
                  <a:lnTo>
                    <a:pt x="461963" y="159544"/>
                  </a:lnTo>
                  <a:lnTo>
                    <a:pt x="395288" y="126207"/>
                  </a:lnTo>
                  <a:lnTo>
                    <a:pt x="378619" y="95250"/>
                  </a:lnTo>
                  <a:lnTo>
                    <a:pt x="407194" y="54769"/>
                  </a:lnTo>
                  <a:lnTo>
                    <a:pt x="373857" y="28575"/>
                  </a:lnTo>
                  <a:lnTo>
                    <a:pt x="378619" y="0"/>
                  </a:lnTo>
                  <a:lnTo>
                    <a:pt x="345282" y="0"/>
                  </a:lnTo>
                  <a:lnTo>
                    <a:pt x="335757" y="26194"/>
                  </a:lnTo>
                  <a:lnTo>
                    <a:pt x="352425" y="42863"/>
                  </a:lnTo>
                  <a:lnTo>
                    <a:pt x="319088" y="59532"/>
                  </a:lnTo>
                  <a:lnTo>
                    <a:pt x="290513" y="42863"/>
                  </a:lnTo>
                  <a:lnTo>
                    <a:pt x="259557" y="88107"/>
                  </a:lnTo>
                  <a:lnTo>
                    <a:pt x="204788" y="80963"/>
                  </a:lnTo>
                  <a:lnTo>
                    <a:pt x="185738" y="16669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" name="_Map_Niedersachsen">
              <a:extLst>
                <a:ext uri="{FF2B5EF4-FFF2-40B4-BE49-F238E27FC236}">
                  <a16:creationId xmlns:a16="http://schemas.microsoft.com/office/drawing/2014/main" id="{200F25E1-F17E-4A4D-99E5-D22302E3E457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669538" y="2439230"/>
              <a:ext cx="1688476" cy="1470178"/>
            </a:xfrm>
            <a:custGeom>
              <a:avLst/>
              <a:gdLst>
                <a:gd name="connsiteX0" fmla="*/ 1789716 w 4706948"/>
                <a:gd name="connsiteY0" fmla="*/ 1096762 h 4098402"/>
                <a:gd name="connsiteX1" fmla="*/ 1765904 w 4706948"/>
                <a:gd name="connsiteY1" fmla="*/ 1103906 h 4098402"/>
                <a:gd name="connsiteX2" fmla="*/ 1792097 w 4706948"/>
                <a:gd name="connsiteY2" fmla="*/ 1156293 h 4098402"/>
                <a:gd name="connsiteX3" fmla="*/ 1877822 w 4706948"/>
                <a:gd name="connsiteY3" fmla="*/ 1184866 h 4098402"/>
                <a:gd name="connsiteX4" fmla="*/ 1918304 w 4706948"/>
                <a:gd name="connsiteY4" fmla="*/ 1265830 h 4098402"/>
                <a:gd name="connsiteX5" fmla="*/ 1946879 w 4706948"/>
                <a:gd name="connsiteY5" fmla="*/ 1320599 h 4098402"/>
                <a:gd name="connsiteX6" fmla="*/ 1970691 w 4706948"/>
                <a:gd name="connsiteY6" fmla="*/ 1320599 h 4098402"/>
                <a:gd name="connsiteX7" fmla="*/ 1977835 w 4706948"/>
                <a:gd name="connsiteY7" fmla="*/ 1401562 h 4098402"/>
                <a:gd name="connsiteX8" fmla="*/ 2034985 w 4706948"/>
                <a:gd name="connsiteY8" fmla="*/ 1375368 h 4098402"/>
                <a:gd name="connsiteX9" fmla="*/ 2101660 w 4706948"/>
                <a:gd name="connsiteY9" fmla="*/ 1430137 h 4098402"/>
                <a:gd name="connsiteX10" fmla="*/ 2132616 w 4706948"/>
                <a:gd name="connsiteY10" fmla="*/ 1384893 h 4098402"/>
                <a:gd name="connsiteX11" fmla="*/ 2175479 w 4706948"/>
                <a:gd name="connsiteY11" fmla="*/ 1444424 h 4098402"/>
                <a:gd name="connsiteX12" fmla="*/ 2230248 w 4706948"/>
                <a:gd name="connsiteY12" fmla="*/ 1382512 h 4098402"/>
                <a:gd name="connsiteX13" fmla="*/ 2220723 w 4706948"/>
                <a:gd name="connsiteY13" fmla="*/ 1315837 h 4098402"/>
                <a:gd name="connsiteX14" fmla="*/ 2239773 w 4706948"/>
                <a:gd name="connsiteY14" fmla="*/ 1299168 h 4098402"/>
                <a:gd name="connsiteX15" fmla="*/ 2211198 w 4706948"/>
                <a:gd name="connsiteY15" fmla="*/ 1265830 h 4098402"/>
                <a:gd name="connsiteX16" fmla="*/ 2239773 w 4706948"/>
                <a:gd name="connsiteY16" fmla="*/ 1253924 h 4098402"/>
                <a:gd name="connsiteX17" fmla="*/ 2211198 w 4706948"/>
                <a:gd name="connsiteY17" fmla="*/ 1203918 h 4098402"/>
                <a:gd name="connsiteX18" fmla="*/ 2170716 w 4706948"/>
                <a:gd name="connsiteY18" fmla="*/ 1239637 h 4098402"/>
                <a:gd name="connsiteX19" fmla="*/ 2132616 w 4706948"/>
                <a:gd name="connsiteY19" fmla="*/ 1242018 h 4098402"/>
                <a:gd name="connsiteX20" fmla="*/ 2104041 w 4706948"/>
                <a:gd name="connsiteY20" fmla="*/ 1189630 h 4098402"/>
                <a:gd name="connsiteX21" fmla="*/ 2032604 w 4706948"/>
                <a:gd name="connsiteY21" fmla="*/ 1192012 h 4098402"/>
                <a:gd name="connsiteX22" fmla="*/ 1989741 w 4706948"/>
                <a:gd name="connsiteY22" fmla="*/ 1161055 h 4098402"/>
                <a:gd name="connsiteX23" fmla="*/ 1956404 w 4706948"/>
                <a:gd name="connsiteY23" fmla="*/ 1172962 h 4098402"/>
                <a:gd name="connsiteX24" fmla="*/ 1913541 w 4706948"/>
                <a:gd name="connsiteY24" fmla="*/ 1144387 h 4098402"/>
                <a:gd name="connsiteX25" fmla="*/ 1873060 w 4706948"/>
                <a:gd name="connsiteY25" fmla="*/ 1149149 h 4098402"/>
                <a:gd name="connsiteX26" fmla="*/ 1875441 w 4706948"/>
                <a:gd name="connsiteY26" fmla="*/ 1122955 h 4098402"/>
                <a:gd name="connsiteX27" fmla="*/ 1863535 w 4706948"/>
                <a:gd name="connsiteY27" fmla="*/ 1103905 h 4098402"/>
                <a:gd name="connsiteX28" fmla="*/ 1832579 w 4706948"/>
                <a:gd name="connsiteY28" fmla="*/ 1118193 h 4098402"/>
                <a:gd name="connsiteX29" fmla="*/ 1789716 w 4706948"/>
                <a:gd name="connsiteY29" fmla="*/ 1096762 h 4098402"/>
                <a:gd name="connsiteX30" fmla="*/ 1911160 w 4706948"/>
                <a:gd name="connsiteY30" fmla="*/ 470492 h 4098402"/>
                <a:gd name="connsiteX31" fmla="*/ 1868298 w 4706948"/>
                <a:gd name="connsiteY31" fmla="*/ 506211 h 4098402"/>
                <a:gd name="connsiteX32" fmla="*/ 1832579 w 4706948"/>
                <a:gd name="connsiteY32" fmla="*/ 484779 h 4098402"/>
                <a:gd name="connsiteX33" fmla="*/ 1813529 w 4706948"/>
                <a:gd name="connsiteY33" fmla="*/ 477636 h 4098402"/>
                <a:gd name="connsiteX34" fmla="*/ 1758760 w 4706948"/>
                <a:gd name="connsiteY34" fmla="*/ 496686 h 4098402"/>
                <a:gd name="connsiteX35" fmla="*/ 1784954 w 4706948"/>
                <a:gd name="connsiteY35" fmla="*/ 560979 h 4098402"/>
                <a:gd name="connsiteX36" fmla="*/ 1839723 w 4706948"/>
                <a:gd name="connsiteY36" fmla="*/ 601461 h 4098402"/>
                <a:gd name="connsiteX37" fmla="*/ 1823054 w 4706948"/>
                <a:gd name="connsiteY37" fmla="*/ 627654 h 4098402"/>
                <a:gd name="connsiteX38" fmla="*/ 1756379 w 4706948"/>
                <a:gd name="connsiteY38" fmla="*/ 687186 h 4098402"/>
                <a:gd name="connsiteX39" fmla="*/ 1775429 w 4706948"/>
                <a:gd name="connsiteY39" fmla="*/ 713379 h 4098402"/>
                <a:gd name="connsiteX40" fmla="*/ 1851629 w 4706948"/>
                <a:gd name="connsiteY40" fmla="*/ 672898 h 4098402"/>
                <a:gd name="connsiteX41" fmla="*/ 1904016 w 4706948"/>
                <a:gd name="connsiteY41" fmla="*/ 680042 h 4098402"/>
                <a:gd name="connsiteX42" fmla="*/ 1920685 w 4706948"/>
                <a:gd name="connsiteY42" fmla="*/ 637179 h 4098402"/>
                <a:gd name="connsiteX43" fmla="*/ 1901635 w 4706948"/>
                <a:gd name="connsiteY43" fmla="*/ 610986 h 4098402"/>
                <a:gd name="connsiteX44" fmla="*/ 1918304 w 4706948"/>
                <a:gd name="connsiteY44" fmla="*/ 582411 h 4098402"/>
                <a:gd name="connsiteX45" fmla="*/ 1901635 w 4706948"/>
                <a:gd name="connsiteY45" fmla="*/ 556217 h 4098402"/>
                <a:gd name="connsiteX46" fmla="*/ 1892110 w 4706948"/>
                <a:gd name="connsiteY46" fmla="*/ 537167 h 4098402"/>
                <a:gd name="connsiteX47" fmla="*/ 1930210 w 4706948"/>
                <a:gd name="connsiteY47" fmla="*/ 501448 h 4098402"/>
                <a:gd name="connsiteX48" fmla="*/ 1913869 w 4706948"/>
                <a:gd name="connsiteY48" fmla="*/ 0 h 4098402"/>
                <a:gd name="connsiteX49" fmla="*/ 1976619 w 4706948"/>
                <a:gd name="connsiteY49" fmla="*/ 125500 h 4098402"/>
                <a:gd name="connsiteX50" fmla="*/ 2290368 w 4706948"/>
                <a:gd name="connsiteY50" fmla="*/ 109812 h 4098402"/>
                <a:gd name="connsiteX51" fmla="*/ 2497187 w 4706948"/>
                <a:gd name="connsiteY51" fmla="*/ 95040 h 4098402"/>
                <a:gd name="connsiteX52" fmla="*/ 2497595 w 4706948"/>
                <a:gd name="connsiteY52" fmla="*/ 96784 h 4098402"/>
                <a:gd name="connsiteX53" fmla="*/ 2627847 w 4706948"/>
                <a:gd name="connsiteY53" fmla="*/ 168087 h 4098402"/>
                <a:gd name="connsiteX54" fmla="*/ 2789248 w 4706948"/>
                <a:gd name="connsiteY54" fmla="*/ 459852 h 4098402"/>
                <a:gd name="connsiteX55" fmla="*/ 2947651 w 4706948"/>
                <a:gd name="connsiteY55" fmla="*/ 534885 h 4098402"/>
                <a:gd name="connsiteX56" fmla="*/ 2937679 w 4706948"/>
                <a:gd name="connsiteY56" fmla="*/ 563039 h 4098402"/>
                <a:gd name="connsiteX57" fmla="*/ 2992448 w 4706948"/>
                <a:gd name="connsiteY57" fmla="*/ 579707 h 4098402"/>
                <a:gd name="connsiteX58" fmla="*/ 2985304 w 4706948"/>
                <a:gd name="connsiteY58" fmla="*/ 622570 h 4098402"/>
                <a:gd name="connsiteX59" fmla="*/ 2978161 w 4706948"/>
                <a:gd name="connsiteY59" fmla="*/ 641620 h 4098402"/>
                <a:gd name="connsiteX60" fmla="*/ 2992448 w 4706948"/>
                <a:gd name="connsiteY60" fmla="*/ 667814 h 4098402"/>
                <a:gd name="connsiteX61" fmla="*/ 3013879 w 4706948"/>
                <a:gd name="connsiteY61" fmla="*/ 660670 h 4098402"/>
                <a:gd name="connsiteX62" fmla="*/ 3016261 w 4706948"/>
                <a:gd name="connsiteY62" fmla="*/ 708295 h 4098402"/>
                <a:gd name="connsiteX63" fmla="*/ 3071029 w 4706948"/>
                <a:gd name="connsiteY63" fmla="*/ 767826 h 4098402"/>
                <a:gd name="connsiteX64" fmla="*/ 3101986 w 4706948"/>
                <a:gd name="connsiteY64" fmla="*/ 729726 h 4098402"/>
                <a:gd name="connsiteX65" fmla="*/ 3121036 w 4706948"/>
                <a:gd name="connsiteY65" fmla="*/ 751157 h 4098402"/>
                <a:gd name="connsiteX66" fmla="*/ 3123417 w 4706948"/>
                <a:gd name="connsiteY66" fmla="*/ 794020 h 4098402"/>
                <a:gd name="connsiteX67" fmla="*/ 3154373 w 4706948"/>
                <a:gd name="connsiteY67" fmla="*/ 774970 h 4098402"/>
                <a:gd name="connsiteX68" fmla="*/ 3182948 w 4706948"/>
                <a:gd name="connsiteY68" fmla="*/ 805926 h 4098402"/>
                <a:gd name="connsiteX69" fmla="*/ 3223429 w 4706948"/>
                <a:gd name="connsiteY69" fmla="*/ 767826 h 4098402"/>
                <a:gd name="connsiteX70" fmla="*/ 3249623 w 4706948"/>
                <a:gd name="connsiteY70" fmla="*/ 720201 h 4098402"/>
                <a:gd name="connsiteX71" fmla="*/ 3311536 w 4706948"/>
                <a:gd name="connsiteY71" fmla="*/ 784495 h 4098402"/>
                <a:gd name="connsiteX72" fmla="*/ 3347254 w 4706948"/>
                <a:gd name="connsiteY72" fmla="*/ 834501 h 4098402"/>
                <a:gd name="connsiteX73" fmla="*/ 3437742 w 4706948"/>
                <a:gd name="connsiteY73" fmla="*/ 834501 h 4098402"/>
                <a:gd name="connsiteX74" fmla="*/ 3452029 w 4706948"/>
                <a:gd name="connsiteY74" fmla="*/ 794020 h 4098402"/>
                <a:gd name="connsiteX75" fmla="*/ 3468679 w 4706948"/>
                <a:gd name="connsiteY75" fmla="*/ 781687 h 4098402"/>
                <a:gd name="connsiteX76" fmla="*/ 3513148 w 4706948"/>
                <a:gd name="connsiteY76" fmla="*/ 802751 h 4098402"/>
                <a:gd name="connsiteX77" fmla="*/ 3790972 w 4706948"/>
                <a:gd name="connsiteY77" fmla="*/ 889186 h 4098402"/>
                <a:gd name="connsiteX78" fmla="*/ 3791754 w 4706948"/>
                <a:gd name="connsiteY78" fmla="*/ 890065 h 4098402"/>
                <a:gd name="connsiteX79" fmla="*/ 3792878 w 4706948"/>
                <a:gd name="connsiteY79" fmla="*/ 889779 h 4098402"/>
                <a:gd name="connsiteX80" fmla="*/ 3798898 w 4706948"/>
                <a:gd name="connsiteY80" fmla="*/ 891651 h 4098402"/>
                <a:gd name="connsiteX81" fmla="*/ 3799320 w 4706948"/>
                <a:gd name="connsiteY81" fmla="*/ 888135 h 4098402"/>
                <a:gd name="connsiteX82" fmla="*/ 3869541 w 4706948"/>
                <a:gd name="connsiteY82" fmla="*/ 870221 h 4098402"/>
                <a:gd name="connsiteX83" fmla="*/ 3976698 w 4706948"/>
                <a:gd name="connsiteY83" fmla="*/ 986902 h 4098402"/>
                <a:gd name="connsiteX84" fmla="*/ 4084648 w 4706948"/>
                <a:gd name="connsiteY84" fmla="*/ 910703 h 4098402"/>
                <a:gd name="connsiteX85" fmla="*/ 4141798 w 4706948"/>
                <a:gd name="connsiteY85" fmla="*/ 923402 h 4098402"/>
                <a:gd name="connsiteX86" fmla="*/ 4186248 w 4706948"/>
                <a:gd name="connsiteY86" fmla="*/ 1056752 h 4098402"/>
                <a:gd name="connsiteX87" fmla="*/ 4313248 w 4706948"/>
                <a:gd name="connsiteY87" fmla="*/ 1171052 h 4098402"/>
                <a:gd name="connsiteX88" fmla="*/ 4325948 w 4706948"/>
                <a:gd name="connsiteY88" fmla="*/ 1259953 h 4098402"/>
                <a:gd name="connsiteX89" fmla="*/ 4465648 w 4706948"/>
                <a:gd name="connsiteY89" fmla="*/ 1393302 h 4098402"/>
                <a:gd name="connsiteX90" fmla="*/ 4573598 w 4706948"/>
                <a:gd name="connsiteY90" fmla="*/ 1336152 h 4098402"/>
                <a:gd name="connsiteX91" fmla="*/ 4618048 w 4706948"/>
                <a:gd name="connsiteY91" fmla="*/ 1367902 h 4098402"/>
                <a:gd name="connsiteX92" fmla="*/ 4706948 w 4706948"/>
                <a:gd name="connsiteY92" fmla="*/ 1393302 h 4098402"/>
                <a:gd name="connsiteX93" fmla="*/ 4649798 w 4706948"/>
                <a:gd name="connsiteY93" fmla="*/ 1450452 h 4098402"/>
                <a:gd name="connsiteX94" fmla="*/ 4618048 w 4706948"/>
                <a:gd name="connsiteY94" fmla="*/ 1545702 h 4098402"/>
                <a:gd name="connsiteX95" fmla="*/ 4427548 w 4706948"/>
                <a:gd name="connsiteY95" fmla="*/ 1666352 h 4098402"/>
                <a:gd name="connsiteX96" fmla="*/ 4256098 w 4706948"/>
                <a:gd name="connsiteY96" fmla="*/ 1640952 h 4098402"/>
                <a:gd name="connsiteX97" fmla="*/ 4243398 w 4706948"/>
                <a:gd name="connsiteY97" fmla="*/ 1590152 h 4098402"/>
                <a:gd name="connsiteX98" fmla="*/ 4148148 w 4706948"/>
                <a:gd name="connsiteY98" fmla="*/ 1596503 h 4098402"/>
                <a:gd name="connsiteX99" fmla="*/ 4103698 w 4706948"/>
                <a:gd name="connsiteY99" fmla="*/ 1691752 h 4098402"/>
                <a:gd name="connsiteX100" fmla="*/ 3932248 w 4706948"/>
                <a:gd name="connsiteY100" fmla="*/ 1710802 h 4098402"/>
                <a:gd name="connsiteX101" fmla="*/ 3944948 w 4706948"/>
                <a:gd name="connsiteY101" fmla="*/ 1863202 h 4098402"/>
                <a:gd name="connsiteX102" fmla="*/ 4071948 w 4706948"/>
                <a:gd name="connsiteY102" fmla="*/ 2072752 h 4098402"/>
                <a:gd name="connsiteX103" fmla="*/ 4122748 w 4706948"/>
                <a:gd name="connsiteY103" fmla="*/ 2021952 h 4098402"/>
                <a:gd name="connsiteX104" fmla="*/ 4122748 w 4706948"/>
                <a:gd name="connsiteY104" fmla="*/ 2053702 h 4098402"/>
                <a:gd name="connsiteX105" fmla="*/ 4097348 w 4706948"/>
                <a:gd name="connsiteY105" fmla="*/ 2123552 h 4098402"/>
                <a:gd name="connsiteX106" fmla="*/ 4154498 w 4706948"/>
                <a:gd name="connsiteY106" fmla="*/ 2244202 h 4098402"/>
                <a:gd name="connsiteX107" fmla="*/ 4129098 w 4706948"/>
                <a:gd name="connsiteY107" fmla="*/ 2250552 h 4098402"/>
                <a:gd name="connsiteX108" fmla="*/ 4090998 w 4706948"/>
                <a:gd name="connsiteY108" fmla="*/ 2288652 h 4098402"/>
                <a:gd name="connsiteX109" fmla="*/ 4230698 w 4706948"/>
                <a:gd name="connsiteY109" fmla="*/ 2466452 h 4098402"/>
                <a:gd name="connsiteX110" fmla="*/ 4148148 w 4706948"/>
                <a:gd name="connsiteY110" fmla="*/ 2498202 h 4098402"/>
                <a:gd name="connsiteX111" fmla="*/ 4198948 w 4706948"/>
                <a:gd name="connsiteY111" fmla="*/ 2542652 h 4098402"/>
                <a:gd name="connsiteX112" fmla="*/ 4179898 w 4706948"/>
                <a:gd name="connsiteY112" fmla="*/ 2587102 h 4098402"/>
                <a:gd name="connsiteX113" fmla="*/ 4237048 w 4706948"/>
                <a:gd name="connsiteY113" fmla="*/ 2644252 h 4098402"/>
                <a:gd name="connsiteX114" fmla="*/ 4154498 w 4706948"/>
                <a:gd name="connsiteY114" fmla="*/ 2758552 h 4098402"/>
                <a:gd name="connsiteX115" fmla="*/ 4205298 w 4706948"/>
                <a:gd name="connsiteY115" fmla="*/ 2796652 h 4098402"/>
                <a:gd name="connsiteX116" fmla="*/ 4097348 w 4706948"/>
                <a:gd name="connsiteY116" fmla="*/ 2847452 h 4098402"/>
                <a:gd name="connsiteX117" fmla="*/ 4110048 w 4706948"/>
                <a:gd name="connsiteY117" fmla="*/ 2942702 h 4098402"/>
                <a:gd name="connsiteX118" fmla="*/ 3843348 w 4706948"/>
                <a:gd name="connsiteY118" fmla="*/ 2949052 h 4098402"/>
                <a:gd name="connsiteX119" fmla="*/ 3729048 w 4706948"/>
                <a:gd name="connsiteY119" fmla="*/ 3025252 h 4098402"/>
                <a:gd name="connsiteX120" fmla="*/ 3792548 w 4706948"/>
                <a:gd name="connsiteY120" fmla="*/ 3095102 h 4098402"/>
                <a:gd name="connsiteX121" fmla="*/ 3786198 w 4706948"/>
                <a:gd name="connsiteY121" fmla="*/ 3133202 h 4098402"/>
                <a:gd name="connsiteX122" fmla="*/ 3830648 w 4706948"/>
                <a:gd name="connsiteY122" fmla="*/ 3177652 h 4098402"/>
                <a:gd name="connsiteX123" fmla="*/ 3748098 w 4706948"/>
                <a:gd name="connsiteY123" fmla="*/ 3285602 h 4098402"/>
                <a:gd name="connsiteX124" fmla="*/ 3773498 w 4706948"/>
                <a:gd name="connsiteY124" fmla="*/ 3374502 h 4098402"/>
                <a:gd name="connsiteX125" fmla="*/ 3868748 w 4706948"/>
                <a:gd name="connsiteY125" fmla="*/ 3590402 h 4098402"/>
                <a:gd name="connsiteX126" fmla="*/ 3798898 w 4706948"/>
                <a:gd name="connsiteY126" fmla="*/ 3698352 h 4098402"/>
                <a:gd name="connsiteX127" fmla="*/ 3665548 w 4706948"/>
                <a:gd name="connsiteY127" fmla="*/ 3704702 h 4098402"/>
                <a:gd name="connsiteX128" fmla="*/ 3640148 w 4706948"/>
                <a:gd name="connsiteY128" fmla="*/ 3660252 h 4098402"/>
                <a:gd name="connsiteX129" fmla="*/ 3551248 w 4706948"/>
                <a:gd name="connsiteY129" fmla="*/ 3660252 h 4098402"/>
                <a:gd name="connsiteX130" fmla="*/ 3455998 w 4706948"/>
                <a:gd name="connsiteY130" fmla="*/ 3806302 h 4098402"/>
                <a:gd name="connsiteX131" fmla="*/ 3138498 w 4706948"/>
                <a:gd name="connsiteY131" fmla="*/ 3984102 h 4098402"/>
                <a:gd name="connsiteX132" fmla="*/ 3030548 w 4706948"/>
                <a:gd name="connsiteY132" fmla="*/ 3939652 h 4098402"/>
                <a:gd name="connsiteX133" fmla="*/ 2922598 w 4706948"/>
                <a:gd name="connsiteY133" fmla="*/ 4003152 h 4098402"/>
                <a:gd name="connsiteX134" fmla="*/ 2954348 w 4706948"/>
                <a:gd name="connsiteY134" fmla="*/ 4073002 h 4098402"/>
                <a:gd name="connsiteX135" fmla="*/ 2884498 w 4706948"/>
                <a:gd name="connsiteY135" fmla="*/ 4098402 h 4098402"/>
                <a:gd name="connsiteX136" fmla="*/ 2782898 w 4706948"/>
                <a:gd name="connsiteY136" fmla="*/ 3996802 h 4098402"/>
                <a:gd name="connsiteX137" fmla="*/ 2865448 w 4706948"/>
                <a:gd name="connsiteY137" fmla="*/ 3926952 h 4098402"/>
                <a:gd name="connsiteX138" fmla="*/ 2827348 w 4706948"/>
                <a:gd name="connsiteY138" fmla="*/ 3768202 h 4098402"/>
                <a:gd name="connsiteX139" fmla="*/ 2897198 w 4706948"/>
                <a:gd name="connsiteY139" fmla="*/ 3672952 h 4098402"/>
                <a:gd name="connsiteX140" fmla="*/ 2833698 w 4706948"/>
                <a:gd name="connsiteY140" fmla="*/ 3590402 h 4098402"/>
                <a:gd name="connsiteX141" fmla="*/ 2611448 w 4706948"/>
                <a:gd name="connsiteY141" fmla="*/ 3565002 h 4098402"/>
                <a:gd name="connsiteX142" fmla="*/ 2611448 w 4706948"/>
                <a:gd name="connsiteY142" fmla="*/ 3406253 h 4098402"/>
                <a:gd name="connsiteX143" fmla="*/ 2668598 w 4706948"/>
                <a:gd name="connsiteY143" fmla="*/ 3241152 h 4098402"/>
                <a:gd name="connsiteX144" fmla="*/ 2560648 w 4706948"/>
                <a:gd name="connsiteY144" fmla="*/ 3215752 h 4098402"/>
                <a:gd name="connsiteX145" fmla="*/ 2509848 w 4706948"/>
                <a:gd name="connsiteY145" fmla="*/ 3114152 h 4098402"/>
                <a:gd name="connsiteX146" fmla="*/ 2509848 w 4706948"/>
                <a:gd name="connsiteY146" fmla="*/ 3076052 h 4098402"/>
                <a:gd name="connsiteX147" fmla="*/ 2439998 w 4706948"/>
                <a:gd name="connsiteY147" fmla="*/ 3076052 h 4098402"/>
                <a:gd name="connsiteX148" fmla="*/ 2376498 w 4706948"/>
                <a:gd name="connsiteY148" fmla="*/ 2809352 h 4098402"/>
                <a:gd name="connsiteX149" fmla="*/ 2249498 w 4706948"/>
                <a:gd name="connsiteY149" fmla="*/ 2809352 h 4098402"/>
                <a:gd name="connsiteX150" fmla="*/ 2230448 w 4706948"/>
                <a:gd name="connsiteY150" fmla="*/ 2752202 h 4098402"/>
                <a:gd name="connsiteX151" fmla="*/ 2300298 w 4706948"/>
                <a:gd name="connsiteY151" fmla="*/ 2752202 h 4098402"/>
                <a:gd name="connsiteX152" fmla="*/ 2300298 w 4706948"/>
                <a:gd name="connsiteY152" fmla="*/ 2663302 h 4098402"/>
                <a:gd name="connsiteX153" fmla="*/ 2205048 w 4706948"/>
                <a:gd name="connsiteY153" fmla="*/ 2606152 h 4098402"/>
                <a:gd name="connsiteX154" fmla="*/ 2255848 w 4706948"/>
                <a:gd name="connsiteY154" fmla="*/ 2517252 h 4098402"/>
                <a:gd name="connsiteX155" fmla="*/ 2363798 w 4706948"/>
                <a:gd name="connsiteY155" fmla="*/ 2383902 h 4098402"/>
                <a:gd name="connsiteX156" fmla="*/ 2332048 w 4706948"/>
                <a:gd name="connsiteY156" fmla="*/ 2333103 h 4098402"/>
                <a:gd name="connsiteX157" fmla="*/ 2351098 w 4706948"/>
                <a:gd name="connsiteY157" fmla="*/ 2263252 h 4098402"/>
                <a:gd name="connsiteX158" fmla="*/ 2293948 w 4706948"/>
                <a:gd name="connsiteY158" fmla="*/ 2256902 h 4098402"/>
                <a:gd name="connsiteX159" fmla="*/ 2173298 w 4706948"/>
                <a:gd name="connsiteY159" fmla="*/ 2409302 h 4098402"/>
                <a:gd name="connsiteX160" fmla="*/ 1976448 w 4706948"/>
                <a:gd name="connsiteY160" fmla="*/ 2402952 h 4098402"/>
                <a:gd name="connsiteX161" fmla="*/ 1938348 w 4706948"/>
                <a:gd name="connsiteY161" fmla="*/ 2206102 h 4098402"/>
                <a:gd name="connsiteX162" fmla="*/ 1849448 w 4706948"/>
                <a:gd name="connsiteY162" fmla="*/ 2250552 h 4098402"/>
                <a:gd name="connsiteX163" fmla="*/ 1773248 w 4706948"/>
                <a:gd name="connsiteY163" fmla="*/ 2256902 h 4098402"/>
                <a:gd name="connsiteX164" fmla="*/ 1703398 w 4706948"/>
                <a:gd name="connsiteY164" fmla="*/ 2326752 h 4098402"/>
                <a:gd name="connsiteX165" fmla="*/ 1576398 w 4706948"/>
                <a:gd name="connsiteY165" fmla="*/ 2333103 h 4098402"/>
                <a:gd name="connsiteX166" fmla="*/ 1608148 w 4706948"/>
                <a:gd name="connsiteY166" fmla="*/ 2409302 h 4098402"/>
                <a:gd name="connsiteX167" fmla="*/ 1722448 w 4706948"/>
                <a:gd name="connsiteY167" fmla="*/ 2479152 h 4098402"/>
                <a:gd name="connsiteX168" fmla="*/ 1690698 w 4706948"/>
                <a:gd name="connsiteY168" fmla="*/ 2726802 h 4098402"/>
                <a:gd name="connsiteX169" fmla="*/ 1779598 w 4706948"/>
                <a:gd name="connsiteY169" fmla="*/ 2733152 h 4098402"/>
                <a:gd name="connsiteX170" fmla="*/ 1627198 w 4706948"/>
                <a:gd name="connsiteY170" fmla="*/ 2860152 h 4098402"/>
                <a:gd name="connsiteX171" fmla="*/ 1531948 w 4706948"/>
                <a:gd name="connsiteY171" fmla="*/ 2809352 h 4098402"/>
                <a:gd name="connsiteX172" fmla="*/ 1398598 w 4706948"/>
                <a:gd name="connsiteY172" fmla="*/ 2936352 h 4098402"/>
                <a:gd name="connsiteX173" fmla="*/ 1354148 w 4706948"/>
                <a:gd name="connsiteY173" fmla="*/ 2910952 h 4098402"/>
                <a:gd name="connsiteX174" fmla="*/ 1239848 w 4706948"/>
                <a:gd name="connsiteY174" fmla="*/ 2974452 h 4098402"/>
                <a:gd name="connsiteX175" fmla="*/ 1182698 w 4706948"/>
                <a:gd name="connsiteY175" fmla="*/ 2885552 h 4098402"/>
                <a:gd name="connsiteX176" fmla="*/ 1290648 w 4706948"/>
                <a:gd name="connsiteY176" fmla="*/ 2866502 h 4098402"/>
                <a:gd name="connsiteX177" fmla="*/ 1303348 w 4706948"/>
                <a:gd name="connsiteY177" fmla="*/ 2777602 h 4098402"/>
                <a:gd name="connsiteX178" fmla="*/ 1195398 w 4706948"/>
                <a:gd name="connsiteY178" fmla="*/ 2733152 h 4098402"/>
                <a:gd name="connsiteX179" fmla="*/ 1214448 w 4706948"/>
                <a:gd name="connsiteY179" fmla="*/ 2593452 h 4098402"/>
                <a:gd name="connsiteX180" fmla="*/ 1265248 w 4706948"/>
                <a:gd name="connsiteY180" fmla="*/ 2536302 h 4098402"/>
                <a:gd name="connsiteX181" fmla="*/ 1169998 w 4706948"/>
                <a:gd name="connsiteY181" fmla="*/ 2441052 h 4098402"/>
                <a:gd name="connsiteX182" fmla="*/ 1017598 w 4706948"/>
                <a:gd name="connsiteY182" fmla="*/ 2402952 h 4098402"/>
                <a:gd name="connsiteX183" fmla="*/ 979498 w 4706948"/>
                <a:gd name="connsiteY183" fmla="*/ 2307703 h 4098402"/>
                <a:gd name="connsiteX184" fmla="*/ 915998 w 4706948"/>
                <a:gd name="connsiteY184" fmla="*/ 2307703 h 4098402"/>
                <a:gd name="connsiteX185" fmla="*/ 884248 w 4706948"/>
                <a:gd name="connsiteY185" fmla="*/ 2358502 h 4098402"/>
                <a:gd name="connsiteX186" fmla="*/ 896948 w 4706948"/>
                <a:gd name="connsiteY186" fmla="*/ 2441052 h 4098402"/>
                <a:gd name="connsiteX187" fmla="*/ 642948 w 4706948"/>
                <a:gd name="connsiteY187" fmla="*/ 2593452 h 4098402"/>
                <a:gd name="connsiteX188" fmla="*/ 363548 w 4706948"/>
                <a:gd name="connsiteY188" fmla="*/ 2663302 h 4098402"/>
                <a:gd name="connsiteX189" fmla="*/ 352743 w 4706948"/>
                <a:gd name="connsiteY189" fmla="*/ 2657011 h 4098402"/>
                <a:gd name="connsiteX190" fmla="*/ 345124 w 4706948"/>
                <a:gd name="connsiteY190" fmla="*/ 2588434 h 4098402"/>
                <a:gd name="connsiteX191" fmla="*/ 313749 w 4706948"/>
                <a:gd name="connsiteY191" fmla="*/ 2353121 h 4098402"/>
                <a:gd name="connsiteX192" fmla="*/ 0 w 4706948"/>
                <a:gd name="connsiteY192" fmla="*/ 2306059 h 4098402"/>
                <a:gd name="connsiteX193" fmla="*/ 15687 w 4706948"/>
                <a:gd name="connsiteY193" fmla="*/ 2180559 h 4098402"/>
                <a:gd name="connsiteX194" fmla="*/ 94124 w 4706948"/>
                <a:gd name="connsiteY194" fmla="*/ 2023684 h 4098402"/>
                <a:gd name="connsiteX195" fmla="*/ 360811 w 4706948"/>
                <a:gd name="connsiteY195" fmla="*/ 1976622 h 4098402"/>
                <a:gd name="connsiteX196" fmla="*/ 345124 w 4706948"/>
                <a:gd name="connsiteY196" fmla="*/ 1662872 h 4098402"/>
                <a:gd name="connsiteX197" fmla="*/ 533373 w 4706948"/>
                <a:gd name="connsiteY197" fmla="*/ 1521685 h 4098402"/>
                <a:gd name="connsiteX198" fmla="*/ 486311 w 4706948"/>
                <a:gd name="connsiteY198" fmla="*/ 1270686 h 4098402"/>
                <a:gd name="connsiteX199" fmla="*/ 580436 w 4706948"/>
                <a:gd name="connsiteY199" fmla="*/ 956936 h 4098402"/>
                <a:gd name="connsiteX200" fmla="*/ 360811 w 4706948"/>
                <a:gd name="connsiteY200" fmla="*/ 925561 h 4098402"/>
                <a:gd name="connsiteX201" fmla="*/ 250999 w 4706948"/>
                <a:gd name="connsiteY201" fmla="*/ 705936 h 4098402"/>
                <a:gd name="connsiteX202" fmla="*/ 423561 w 4706948"/>
                <a:gd name="connsiteY202" fmla="*/ 517687 h 4098402"/>
                <a:gd name="connsiteX203" fmla="*/ 643185 w 4706948"/>
                <a:gd name="connsiteY203" fmla="*/ 360812 h 4098402"/>
                <a:gd name="connsiteX204" fmla="*/ 784372 w 4706948"/>
                <a:gd name="connsiteY204" fmla="*/ 407874 h 4098402"/>
                <a:gd name="connsiteX205" fmla="*/ 1176559 w 4706948"/>
                <a:gd name="connsiteY205" fmla="*/ 266687 h 4098402"/>
                <a:gd name="connsiteX206" fmla="*/ 1333433 w 4706948"/>
                <a:gd name="connsiteY206" fmla="*/ 298062 h 4098402"/>
                <a:gd name="connsiteX207" fmla="*/ 1427558 w 4706948"/>
                <a:gd name="connsiteY207" fmla="*/ 564749 h 4098402"/>
                <a:gd name="connsiteX208" fmla="*/ 1349121 w 4706948"/>
                <a:gd name="connsiteY208" fmla="*/ 737311 h 4098402"/>
                <a:gd name="connsiteX209" fmla="*/ 1615808 w 4706948"/>
                <a:gd name="connsiteY209" fmla="*/ 815749 h 4098402"/>
                <a:gd name="connsiteX210" fmla="*/ 1584433 w 4706948"/>
                <a:gd name="connsiteY210" fmla="*/ 643187 h 4098402"/>
                <a:gd name="connsiteX211" fmla="*/ 1505995 w 4706948"/>
                <a:gd name="connsiteY211" fmla="*/ 517687 h 4098402"/>
                <a:gd name="connsiteX212" fmla="*/ 1584433 w 4706948"/>
                <a:gd name="connsiteY212" fmla="*/ 470624 h 4098402"/>
                <a:gd name="connsiteX213" fmla="*/ 1756995 w 4706948"/>
                <a:gd name="connsiteY213" fmla="*/ 580437 h 4098402"/>
                <a:gd name="connsiteX214" fmla="*/ 1741307 w 4706948"/>
                <a:gd name="connsiteY214" fmla="*/ 376500 h 409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</a:cxnLst>
              <a:rect l="l" t="t" r="r" b="b"/>
              <a:pathLst>
                <a:path w="4706948" h="4098402">
                  <a:moveTo>
                    <a:pt x="1789716" y="1096762"/>
                  </a:moveTo>
                  <a:lnTo>
                    <a:pt x="1765904" y="1103906"/>
                  </a:lnTo>
                  <a:lnTo>
                    <a:pt x="1792097" y="1156293"/>
                  </a:lnTo>
                  <a:lnTo>
                    <a:pt x="1877822" y="1184866"/>
                  </a:lnTo>
                  <a:lnTo>
                    <a:pt x="1918304" y="1265830"/>
                  </a:lnTo>
                  <a:lnTo>
                    <a:pt x="1946879" y="1320599"/>
                  </a:lnTo>
                  <a:lnTo>
                    <a:pt x="1970691" y="1320599"/>
                  </a:lnTo>
                  <a:lnTo>
                    <a:pt x="1977835" y="1401562"/>
                  </a:lnTo>
                  <a:lnTo>
                    <a:pt x="2034985" y="1375368"/>
                  </a:lnTo>
                  <a:lnTo>
                    <a:pt x="2101660" y="1430137"/>
                  </a:lnTo>
                  <a:lnTo>
                    <a:pt x="2132616" y="1384893"/>
                  </a:lnTo>
                  <a:lnTo>
                    <a:pt x="2175479" y="1444424"/>
                  </a:lnTo>
                  <a:lnTo>
                    <a:pt x="2230248" y="1382512"/>
                  </a:lnTo>
                  <a:lnTo>
                    <a:pt x="2220723" y="1315837"/>
                  </a:lnTo>
                  <a:lnTo>
                    <a:pt x="2239773" y="1299168"/>
                  </a:lnTo>
                  <a:lnTo>
                    <a:pt x="2211198" y="1265830"/>
                  </a:lnTo>
                  <a:lnTo>
                    <a:pt x="2239773" y="1253924"/>
                  </a:lnTo>
                  <a:lnTo>
                    <a:pt x="2211198" y="1203918"/>
                  </a:lnTo>
                  <a:lnTo>
                    <a:pt x="2170716" y="1239637"/>
                  </a:lnTo>
                  <a:lnTo>
                    <a:pt x="2132616" y="1242018"/>
                  </a:lnTo>
                  <a:lnTo>
                    <a:pt x="2104041" y="1189630"/>
                  </a:lnTo>
                  <a:lnTo>
                    <a:pt x="2032604" y="1192012"/>
                  </a:lnTo>
                  <a:lnTo>
                    <a:pt x="1989741" y="1161055"/>
                  </a:lnTo>
                  <a:lnTo>
                    <a:pt x="1956404" y="1172962"/>
                  </a:lnTo>
                  <a:cubicBezTo>
                    <a:pt x="1942116" y="1163437"/>
                    <a:pt x="1927432" y="1148356"/>
                    <a:pt x="1913541" y="1144387"/>
                  </a:cubicBezTo>
                  <a:cubicBezTo>
                    <a:pt x="1899650" y="1140418"/>
                    <a:pt x="1886554" y="1147562"/>
                    <a:pt x="1873060" y="1149149"/>
                  </a:cubicBezTo>
                  <a:lnTo>
                    <a:pt x="1875441" y="1122955"/>
                  </a:lnTo>
                  <a:lnTo>
                    <a:pt x="1863535" y="1103905"/>
                  </a:lnTo>
                  <a:lnTo>
                    <a:pt x="1832579" y="1118193"/>
                  </a:lnTo>
                  <a:cubicBezTo>
                    <a:pt x="1812735" y="1110255"/>
                    <a:pt x="1809560" y="1104700"/>
                    <a:pt x="1789716" y="1096762"/>
                  </a:cubicBezTo>
                  <a:close/>
                  <a:moveTo>
                    <a:pt x="1911160" y="470492"/>
                  </a:moveTo>
                  <a:lnTo>
                    <a:pt x="1868298" y="506211"/>
                  </a:lnTo>
                  <a:lnTo>
                    <a:pt x="1832579" y="484779"/>
                  </a:lnTo>
                  <a:lnTo>
                    <a:pt x="1813529" y="477636"/>
                  </a:lnTo>
                  <a:lnTo>
                    <a:pt x="1758760" y="496686"/>
                  </a:lnTo>
                  <a:lnTo>
                    <a:pt x="1784954" y="560979"/>
                  </a:lnTo>
                  <a:lnTo>
                    <a:pt x="1839723" y="601461"/>
                  </a:lnTo>
                  <a:lnTo>
                    <a:pt x="1823054" y="627654"/>
                  </a:lnTo>
                  <a:lnTo>
                    <a:pt x="1756379" y="687186"/>
                  </a:lnTo>
                  <a:lnTo>
                    <a:pt x="1775429" y="713379"/>
                  </a:lnTo>
                  <a:lnTo>
                    <a:pt x="1851629" y="672898"/>
                  </a:lnTo>
                  <a:lnTo>
                    <a:pt x="1904016" y="680042"/>
                  </a:lnTo>
                  <a:lnTo>
                    <a:pt x="1920685" y="637179"/>
                  </a:lnTo>
                  <a:lnTo>
                    <a:pt x="1901635" y="610986"/>
                  </a:lnTo>
                  <a:lnTo>
                    <a:pt x="1918304" y="582411"/>
                  </a:lnTo>
                  <a:lnTo>
                    <a:pt x="1901635" y="556217"/>
                  </a:lnTo>
                  <a:lnTo>
                    <a:pt x="1892110" y="537167"/>
                  </a:lnTo>
                  <a:lnTo>
                    <a:pt x="1930210" y="501448"/>
                  </a:lnTo>
                  <a:close/>
                  <a:moveTo>
                    <a:pt x="1913869" y="0"/>
                  </a:moveTo>
                  <a:lnTo>
                    <a:pt x="1976619" y="125500"/>
                  </a:lnTo>
                  <a:lnTo>
                    <a:pt x="2290368" y="109812"/>
                  </a:lnTo>
                  <a:lnTo>
                    <a:pt x="2497187" y="95040"/>
                  </a:lnTo>
                  <a:lnTo>
                    <a:pt x="2497595" y="96784"/>
                  </a:lnTo>
                  <a:lnTo>
                    <a:pt x="2627847" y="168087"/>
                  </a:lnTo>
                  <a:lnTo>
                    <a:pt x="2789248" y="459852"/>
                  </a:lnTo>
                  <a:lnTo>
                    <a:pt x="2947651" y="534885"/>
                  </a:lnTo>
                  <a:lnTo>
                    <a:pt x="2937679" y="563039"/>
                  </a:lnTo>
                  <a:lnTo>
                    <a:pt x="2992448" y="579707"/>
                  </a:lnTo>
                  <a:lnTo>
                    <a:pt x="2985304" y="622570"/>
                  </a:lnTo>
                  <a:lnTo>
                    <a:pt x="2978161" y="641620"/>
                  </a:lnTo>
                  <a:lnTo>
                    <a:pt x="2992448" y="667814"/>
                  </a:lnTo>
                  <a:lnTo>
                    <a:pt x="3013879" y="660670"/>
                  </a:lnTo>
                  <a:lnTo>
                    <a:pt x="3016261" y="708295"/>
                  </a:lnTo>
                  <a:lnTo>
                    <a:pt x="3071029" y="767826"/>
                  </a:lnTo>
                  <a:lnTo>
                    <a:pt x="3101986" y="729726"/>
                  </a:lnTo>
                  <a:lnTo>
                    <a:pt x="3121036" y="751157"/>
                  </a:lnTo>
                  <a:lnTo>
                    <a:pt x="3123417" y="794020"/>
                  </a:lnTo>
                  <a:lnTo>
                    <a:pt x="3154373" y="774970"/>
                  </a:lnTo>
                  <a:lnTo>
                    <a:pt x="3182948" y="805926"/>
                  </a:lnTo>
                  <a:lnTo>
                    <a:pt x="3223429" y="767826"/>
                  </a:lnTo>
                  <a:lnTo>
                    <a:pt x="3249623" y="720201"/>
                  </a:lnTo>
                  <a:lnTo>
                    <a:pt x="3311536" y="784495"/>
                  </a:lnTo>
                  <a:lnTo>
                    <a:pt x="3347254" y="834501"/>
                  </a:lnTo>
                  <a:lnTo>
                    <a:pt x="3437742" y="834501"/>
                  </a:lnTo>
                  <a:lnTo>
                    <a:pt x="3452029" y="794020"/>
                  </a:lnTo>
                  <a:lnTo>
                    <a:pt x="3468679" y="781687"/>
                  </a:lnTo>
                  <a:lnTo>
                    <a:pt x="3513148" y="802751"/>
                  </a:lnTo>
                  <a:lnTo>
                    <a:pt x="3790972" y="889186"/>
                  </a:lnTo>
                  <a:lnTo>
                    <a:pt x="3791754" y="890065"/>
                  </a:lnTo>
                  <a:lnTo>
                    <a:pt x="3792878" y="889779"/>
                  </a:lnTo>
                  <a:lnTo>
                    <a:pt x="3798898" y="891651"/>
                  </a:lnTo>
                  <a:cubicBezTo>
                    <a:pt x="3799039" y="890479"/>
                    <a:pt x="3799179" y="889307"/>
                    <a:pt x="3799320" y="888135"/>
                  </a:cubicBezTo>
                  <a:lnTo>
                    <a:pt x="3869541" y="870221"/>
                  </a:lnTo>
                  <a:lnTo>
                    <a:pt x="3976698" y="986902"/>
                  </a:lnTo>
                  <a:lnTo>
                    <a:pt x="4084648" y="910703"/>
                  </a:lnTo>
                  <a:lnTo>
                    <a:pt x="4141798" y="923402"/>
                  </a:lnTo>
                  <a:lnTo>
                    <a:pt x="4186248" y="1056752"/>
                  </a:lnTo>
                  <a:lnTo>
                    <a:pt x="4313248" y="1171052"/>
                  </a:lnTo>
                  <a:lnTo>
                    <a:pt x="4325948" y="1259953"/>
                  </a:lnTo>
                  <a:lnTo>
                    <a:pt x="4465648" y="1393302"/>
                  </a:lnTo>
                  <a:lnTo>
                    <a:pt x="4573598" y="1336152"/>
                  </a:lnTo>
                  <a:lnTo>
                    <a:pt x="4618048" y="1367902"/>
                  </a:lnTo>
                  <a:lnTo>
                    <a:pt x="4706948" y="1393302"/>
                  </a:lnTo>
                  <a:lnTo>
                    <a:pt x="4649798" y="1450452"/>
                  </a:lnTo>
                  <a:lnTo>
                    <a:pt x="4618048" y="1545702"/>
                  </a:lnTo>
                  <a:lnTo>
                    <a:pt x="4427548" y="1666352"/>
                  </a:lnTo>
                  <a:lnTo>
                    <a:pt x="4256098" y="1640952"/>
                  </a:lnTo>
                  <a:lnTo>
                    <a:pt x="4243398" y="1590152"/>
                  </a:lnTo>
                  <a:lnTo>
                    <a:pt x="4148148" y="1596503"/>
                  </a:lnTo>
                  <a:lnTo>
                    <a:pt x="4103698" y="1691752"/>
                  </a:lnTo>
                  <a:lnTo>
                    <a:pt x="3932248" y="1710802"/>
                  </a:lnTo>
                  <a:lnTo>
                    <a:pt x="3944948" y="1863202"/>
                  </a:lnTo>
                  <a:lnTo>
                    <a:pt x="4071948" y="2072752"/>
                  </a:lnTo>
                  <a:lnTo>
                    <a:pt x="4122748" y="2021952"/>
                  </a:lnTo>
                  <a:lnTo>
                    <a:pt x="4122748" y="2053702"/>
                  </a:lnTo>
                  <a:lnTo>
                    <a:pt x="4097348" y="2123552"/>
                  </a:lnTo>
                  <a:lnTo>
                    <a:pt x="4154498" y="2244202"/>
                  </a:lnTo>
                  <a:lnTo>
                    <a:pt x="4129098" y="2250552"/>
                  </a:lnTo>
                  <a:lnTo>
                    <a:pt x="4090998" y="2288652"/>
                  </a:lnTo>
                  <a:lnTo>
                    <a:pt x="4230698" y="2466452"/>
                  </a:lnTo>
                  <a:lnTo>
                    <a:pt x="4148148" y="2498202"/>
                  </a:lnTo>
                  <a:lnTo>
                    <a:pt x="4198948" y="2542652"/>
                  </a:lnTo>
                  <a:lnTo>
                    <a:pt x="4179898" y="2587102"/>
                  </a:lnTo>
                  <a:lnTo>
                    <a:pt x="4237048" y="2644252"/>
                  </a:lnTo>
                  <a:lnTo>
                    <a:pt x="4154498" y="2758552"/>
                  </a:lnTo>
                  <a:lnTo>
                    <a:pt x="4205298" y="2796652"/>
                  </a:lnTo>
                  <a:lnTo>
                    <a:pt x="4097348" y="2847452"/>
                  </a:lnTo>
                  <a:lnTo>
                    <a:pt x="4110048" y="2942702"/>
                  </a:lnTo>
                  <a:lnTo>
                    <a:pt x="3843348" y="2949052"/>
                  </a:lnTo>
                  <a:lnTo>
                    <a:pt x="3729048" y="3025252"/>
                  </a:lnTo>
                  <a:lnTo>
                    <a:pt x="3792548" y="3095102"/>
                  </a:lnTo>
                  <a:lnTo>
                    <a:pt x="3786198" y="3133202"/>
                  </a:lnTo>
                  <a:lnTo>
                    <a:pt x="3830648" y="3177652"/>
                  </a:lnTo>
                  <a:lnTo>
                    <a:pt x="3748098" y="3285602"/>
                  </a:lnTo>
                  <a:lnTo>
                    <a:pt x="3773498" y="3374502"/>
                  </a:lnTo>
                  <a:lnTo>
                    <a:pt x="3868748" y="3590402"/>
                  </a:lnTo>
                  <a:lnTo>
                    <a:pt x="3798898" y="3698352"/>
                  </a:lnTo>
                  <a:lnTo>
                    <a:pt x="3665548" y="3704702"/>
                  </a:lnTo>
                  <a:lnTo>
                    <a:pt x="3640148" y="3660252"/>
                  </a:lnTo>
                  <a:lnTo>
                    <a:pt x="3551248" y="3660252"/>
                  </a:lnTo>
                  <a:lnTo>
                    <a:pt x="3455998" y="3806302"/>
                  </a:lnTo>
                  <a:lnTo>
                    <a:pt x="3138498" y="3984102"/>
                  </a:lnTo>
                  <a:lnTo>
                    <a:pt x="3030548" y="3939652"/>
                  </a:lnTo>
                  <a:lnTo>
                    <a:pt x="2922598" y="4003152"/>
                  </a:lnTo>
                  <a:lnTo>
                    <a:pt x="2954348" y="4073002"/>
                  </a:lnTo>
                  <a:lnTo>
                    <a:pt x="2884498" y="4098402"/>
                  </a:lnTo>
                  <a:lnTo>
                    <a:pt x="2782898" y="3996802"/>
                  </a:lnTo>
                  <a:lnTo>
                    <a:pt x="2865448" y="3926952"/>
                  </a:lnTo>
                  <a:lnTo>
                    <a:pt x="2827348" y="3768202"/>
                  </a:lnTo>
                  <a:lnTo>
                    <a:pt x="2897198" y="3672952"/>
                  </a:lnTo>
                  <a:lnTo>
                    <a:pt x="2833698" y="3590402"/>
                  </a:lnTo>
                  <a:lnTo>
                    <a:pt x="2611448" y="3565002"/>
                  </a:lnTo>
                  <a:lnTo>
                    <a:pt x="2611448" y="3406253"/>
                  </a:lnTo>
                  <a:lnTo>
                    <a:pt x="2668598" y="3241152"/>
                  </a:lnTo>
                  <a:lnTo>
                    <a:pt x="2560648" y="3215752"/>
                  </a:lnTo>
                  <a:lnTo>
                    <a:pt x="2509848" y="3114152"/>
                  </a:lnTo>
                  <a:lnTo>
                    <a:pt x="2509848" y="3076052"/>
                  </a:lnTo>
                  <a:lnTo>
                    <a:pt x="2439998" y="3076052"/>
                  </a:lnTo>
                  <a:lnTo>
                    <a:pt x="2376498" y="2809352"/>
                  </a:lnTo>
                  <a:lnTo>
                    <a:pt x="2249498" y="2809352"/>
                  </a:lnTo>
                  <a:lnTo>
                    <a:pt x="2230448" y="2752202"/>
                  </a:lnTo>
                  <a:lnTo>
                    <a:pt x="2300298" y="2752202"/>
                  </a:lnTo>
                  <a:lnTo>
                    <a:pt x="2300298" y="2663302"/>
                  </a:lnTo>
                  <a:lnTo>
                    <a:pt x="2205048" y="2606152"/>
                  </a:lnTo>
                  <a:lnTo>
                    <a:pt x="2255848" y="2517252"/>
                  </a:lnTo>
                  <a:lnTo>
                    <a:pt x="2363798" y="2383902"/>
                  </a:lnTo>
                  <a:lnTo>
                    <a:pt x="2332048" y="2333103"/>
                  </a:lnTo>
                  <a:lnTo>
                    <a:pt x="2351098" y="2263252"/>
                  </a:lnTo>
                  <a:lnTo>
                    <a:pt x="2293948" y="2256902"/>
                  </a:lnTo>
                  <a:lnTo>
                    <a:pt x="2173298" y="2409302"/>
                  </a:lnTo>
                  <a:lnTo>
                    <a:pt x="1976448" y="2402952"/>
                  </a:lnTo>
                  <a:lnTo>
                    <a:pt x="1938348" y="2206102"/>
                  </a:lnTo>
                  <a:lnTo>
                    <a:pt x="1849448" y="2250552"/>
                  </a:lnTo>
                  <a:lnTo>
                    <a:pt x="1773248" y="2256902"/>
                  </a:lnTo>
                  <a:lnTo>
                    <a:pt x="1703398" y="2326752"/>
                  </a:lnTo>
                  <a:lnTo>
                    <a:pt x="1576398" y="2333103"/>
                  </a:lnTo>
                  <a:lnTo>
                    <a:pt x="1608148" y="2409302"/>
                  </a:lnTo>
                  <a:lnTo>
                    <a:pt x="1722448" y="2479152"/>
                  </a:lnTo>
                  <a:lnTo>
                    <a:pt x="1690698" y="2726802"/>
                  </a:lnTo>
                  <a:lnTo>
                    <a:pt x="1779598" y="2733152"/>
                  </a:lnTo>
                  <a:lnTo>
                    <a:pt x="1627198" y="2860152"/>
                  </a:lnTo>
                  <a:lnTo>
                    <a:pt x="1531948" y="2809352"/>
                  </a:lnTo>
                  <a:lnTo>
                    <a:pt x="1398598" y="2936352"/>
                  </a:lnTo>
                  <a:lnTo>
                    <a:pt x="1354148" y="2910952"/>
                  </a:lnTo>
                  <a:lnTo>
                    <a:pt x="1239848" y="2974452"/>
                  </a:lnTo>
                  <a:lnTo>
                    <a:pt x="1182698" y="2885552"/>
                  </a:lnTo>
                  <a:lnTo>
                    <a:pt x="1290648" y="2866502"/>
                  </a:lnTo>
                  <a:lnTo>
                    <a:pt x="1303348" y="2777602"/>
                  </a:lnTo>
                  <a:lnTo>
                    <a:pt x="1195398" y="2733152"/>
                  </a:lnTo>
                  <a:lnTo>
                    <a:pt x="1214448" y="2593452"/>
                  </a:lnTo>
                  <a:lnTo>
                    <a:pt x="1265248" y="2536302"/>
                  </a:lnTo>
                  <a:lnTo>
                    <a:pt x="1169998" y="2441052"/>
                  </a:lnTo>
                  <a:lnTo>
                    <a:pt x="1017598" y="2402952"/>
                  </a:lnTo>
                  <a:lnTo>
                    <a:pt x="979498" y="2307703"/>
                  </a:lnTo>
                  <a:lnTo>
                    <a:pt x="915998" y="2307703"/>
                  </a:lnTo>
                  <a:lnTo>
                    <a:pt x="884248" y="2358502"/>
                  </a:lnTo>
                  <a:lnTo>
                    <a:pt x="896948" y="2441052"/>
                  </a:lnTo>
                  <a:lnTo>
                    <a:pt x="642948" y="2593452"/>
                  </a:lnTo>
                  <a:lnTo>
                    <a:pt x="363548" y="2663302"/>
                  </a:lnTo>
                  <a:lnTo>
                    <a:pt x="352743" y="2657011"/>
                  </a:lnTo>
                  <a:lnTo>
                    <a:pt x="345124" y="2588434"/>
                  </a:lnTo>
                  <a:lnTo>
                    <a:pt x="313749" y="2353121"/>
                  </a:lnTo>
                  <a:lnTo>
                    <a:pt x="0" y="2306059"/>
                  </a:lnTo>
                  <a:lnTo>
                    <a:pt x="15687" y="2180559"/>
                  </a:lnTo>
                  <a:lnTo>
                    <a:pt x="94124" y="2023684"/>
                  </a:lnTo>
                  <a:lnTo>
                    <a:pt x="360811" y="1976622"/>
                  </a:lnTo>
                  <a:lnTo>
                    <a:pt x="345124" y="1662872"/>
                  </a:lnTo>
                  <a:lnTo>
                    <a:pt x="533373" y="1521685"/>
                  </a:lnTo>
                  <a:lnTo>
                    <a:pt x="486311" y="1270686"/>
                  </a:lnTo>
                  <a:lnTo>
                    <a:pt x="580436" y="956936"/>
                  </a:lnTo>
                  <a:lnTo>
                    <a:pt x="360811" y="925561"/>
                  </a:lnTo>
                  <a:lnTo>
                    <a:pt x="250999" y="705936"/>
                  </a:lnTo>
                  <a:lnTo>
                    <a:pt x="423561" y="517687"/>
                  </a:lnTo>
                  <a:lnTo>
                    <a:pt x="643185" y="360812"/>
                  </a:lnTo>
                  <a:lnTo>
                    <a:pt x="784372" y="407874"/>
                  </a:lnTo>
                  <a:lnTo>
                    <a:pt x="1176559" y="266687"/>
                  </a:lnTo>
                  <a:lnTo>
                    <a:pt x="1333433" y="298062"/>
                  </a:lnTo>
                  <a:lnTo>
                    <a:pt x="1427558" y="564749"/>
                  </a:lnTo>
                  <a:lnTo>
                    <a:pt x="1349121" y="737311"/>
                  </a:lnTo>
                  <a:lnTo>
                    <a:pt x="1615808" y="815749"/>
                  </a:lnTo>
                  <a:lnTo>
                    <a:pt x="1584433" y="643187"/>
                  </a:lnTo>
                  <a:lnTo>
                    <a:pt x="1505995" y="517687"/>
                  </a:lnTo>
                  <a:lnTo>
                    <a:pt x="1584433" y="470624"/>
                  </a:lnTo>
                  <a:lnTo>
                    <a:pt x="1756995" y="580437"/>
                  </a:lnTo>
                  <a:lnTo>
                    <a:pt x="1741307" y="376500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_Map_Bremen">
              <a:extLst>
                <a:ext uri="{FF2B5EF4-FFF2-40B4-BE49-F238E27FC236}">
                  <a16:creationId xmlns:a16="http://schemas.microsoft.com/office/drawing/2014/main" id="{C4F2AAAF-CD45-4007-B970-A040B7335C21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299585" y="2608004"/>
              <a:ext cx="173403" cy="349368"/>
            </a:xfrm>
            <a:custGeom>
              <a:avLst/>
              <a:gdLst>
                <a:gd name="connsiteX0" fmla="*/ 33337 w 483394"/>
                <a:gd name="connsiteY0" fmla="*/ 626270 h 973932"/>
                <a:gd name="connsiteX1" fmla="*/ 76200 w 483394"/>
                <a:gd name="connsiteY1" fmla="*/ 647701 h 973932"/>
                <a:gd name="connsiteX2" fmla="*/ 107156 w 483394"/>
                <a:gd name="connsiteY2" fmla="*/ 633413 h 973932"/>
                <a:gd name="connsiteX3" fmla="*/ 119062 w 483394"/>
                <a:gd name="connsiteY3" fmla="*/ 652463 h 973932"/>
                <a:gd name="connsiteX4" fmla="*/ 116681 w 483394"/>
                <a:gd name="connsiteY4" fmla="*/ 678657 h 973932"/>
                <a:gd name="connsiteX5" fmla="*/ 157162 w 483394"/>
                <a:gd name="connsiteY5" fmla="*/ 673895 h 973932"/>
                <a:gd name="connsiteX6" fmla="*/ 200025 w 483394"/>
                <a:gd name="connsiteY6" fmla="*/ 702470 h 973932"/>
                <a:gd name="connsiteX7" fmla="*/ 233362 w 483394"/>
                <a:gd name="connsiteY7" fmla="*/ 690563 h 973932"/>
                <a:gd name="connsiteX8" fmla="*/ 276225 w 483394"/>
                <a:gd name="connsiteY8" fmla="*/ 721520 h 973932"/>
                <a:gd name="connsiteX9" fmla="*/ 347662 w 483394"/>
                <a:gd name="connsiteY9" fmla="*/ 719138 h 973932"/>
                <a:gd name="connsiteX10" fmla="*/ 376237 w 483394"/>
                <a:gd name="connsiteY10" fmla="*/ 771526 h 973932"/>
                <a:gd name="connsiteX11" fmla="*/ 414337 w 483394"/>
                <a:gd name="connsiteY11" fmla="*/ 769145 h 973932"/>
                <a:gd name="connsiteX12" fmla="*/ 454819 w 483394"/>
                <a:gd name="connsiteY12" fmla="*/ 733426 h 973932"/>
                <a:gd name="connsiteX13" fmla="*/ 483394 w 483394"/>
                <a:gd name="connsiteY13" fmla="*/ 783432 h 973932"/>
                <a:gd name="connsiteX14" fmla="*/ 454819 w 483394"/>
                <a:gd name="connsiteY14" fmla="*/ 795338 h 973932"/>
                <a:gd name="connsiteX15" fmla="*/ 483394 w 483394"/>
                <a:gd name="connsiteY15" fmla="*/ 828676 h 973932"/>
                <a:gd name="connsiteX16" fmla="*/ 464344 w 483394"/>
                <a:gd name="connsiteY16" fmla="*/ 845345 h 973932"/>
                <a:gd name="connsiteX17" fmla="*/ 473869 w 483394"/>
                <a:gd name="connsiteY17" fmla="*/ 912020 h 973932"/>
                <a:gd name="connsiteX18" fmla="*/ 419100 w 483394"/>
                <a:gd name="connsiteY18" fmla="*/ 973932 h 973932"/>
                <a:gd name="connsiteX19" fmla="*/ 376237 w 483394"/>
                <a:gd name="connsiteY19" fmla="*/ 914401 h 973932"/>
                <a:gd name="connsiteX20" fmla="*/ 345281 w 483394"/>
                <a:gd name="connsiteY20" fmla="*/ 959645 h 973932"/>
                <a:gd name="connsiteX21" fmla="*/ 278606 w 483394"/>
                <a:gd name="connsiteY21" fmla="*/ 904876 h 973932"/>
                <a:gd name="connsiteX22" fmla="*/ 221456 w 483394"/>
                <a:gd name="connsiteY22" fmla="*/ 931070 h 973932"/>
                <a:gd name="connsiteX23" fmla="*/ 214312 w 483394"/>
                <a:gd name="connsiteY23" fmla="*/ 850107 h 973932"/>
                <a:gd name="connsiteX24" fmla="*/ 190500 w 483394"/>
                <a:gd name="connsiteY24" fmla="*/ 850107 h 973932"/>
                <a:gd name="connsiteX25" fmla="*/ 161925 w 483394"/>
                <a:gd name="connsiteY25" fmla="*/ 795338 h 973932"/>
                <a:gd name="connsiteX26" fmla="*/ 121443 w 483394"/>
                <a:gd name="connsiteY26" fmla="*/ 714374 h 973932"/>
                <a:gd name="connsiteX27" fmla="*/ 35718 w 483394"/>
                <a:gd name="connsiteY27" fmla="*/ 685801 h 973932"/>
                <a:gd name="connsiteX28" fmla="*/ 9525 w 483394"/>
                <a:gd name="connsiteY28" fmla="*/ 633414 h 973932"/>
                <a:gd name="connsiteX29" fmla="*/ 154781 w 483394"/>
                <a:gd name="connsiteY29" fmla="*/ 0 h 973932"/>
                <a:gd name="connsiteX30" fmla="*/ 173831 w 483394"/>
                <a:gd name="connsiteY30" fmla="*/ 30956 h 973932"/>
                <a:gd name="connsiteX31" fmla="*/ 135731 w 483394"/>
                <a:gd name="connsiteY31" fmla="*/ 66675 h 973932"/>
                <a:gd name="connsiteX32" fmla="*/ 145256 w 483394"/>
                <a:gd name="connsiteY32" fmla="*/ 85725 h 973932"/>
                <a:gd name="connsiteX33" fmla="*/ 161925 w 483394"/>
                <a:gd name="connsiteY33" fmla="*/ 111919 h 973932"/>
                <a:gd name="connsiteX34" fmla="*/ 145256 w 483394"/>
                <a:gd name="connsiteY34" fmla="*/ 140494 h 973932"/>
                <a:gd name="connsiteX35" fmla="*/ 164306 w 483394"/>
                <a:gd name="connsiteY35" fmla="*/ 166687 h 973932"/>
                <a:gd name="connsiteX36" fmla="*/ 147637 w 483394"/>
                <a:gd name="connsiteY36" fmla="*/ 209550 h 973932"/>
                <a:gd name="connsiteX37" fmla="*/ 95250 w 483394"/>
                <a:gd name="connsiteY37" fmla="*/ 202406 h 973932"/>
                <a:gd name="connsiteX38" fmla="*/ 19050 w 483394"/>
                <a:gd name="connsiteY38" fmla="*/ 242887 h 973932"/>
                <a:gd name="connsiteX39" fmla="*/ 0 w 483394"/>
                <a:gd name="connsiteY39" fmla="*/ 216694 h 973932"/>
                <a:gd name="connsiteX40" fmla="*/ 66675 w 483394"/>
                <a:gd name="connsiteY40" fmla="*/ 157162 h 973932"/>
                <a:gd name="connsiteX41" fmla="*/ 83344 w 483394"/>
                <a:gd name="connsiteY41" fmla="*/ 130969 h 973932"/>
                <a:gd name="connsiteX42" fmla="*/ 28575 w 483394"/>
                <a:gd name="connsiteY42" fmla="*/ 90487 h 973932"/>
                <a:gd name="connsiteX43" fmla="*/ 2381 w 483394"/>
                <a:gd name="connsiteY43" fmla="*/ 26194 h 973932"/>
                <a:gd name="connsiteX44" fmla="*/ 57150 w 483394"/>
                <a:gd name="connsiteY44" fmla="*/ 7144 h 973932"/>
                <a:gd name="connsiteX45" fmla="*/ 76200 w 483394"/>
                <a:gd name="connsiteY45" fmla="*/ 14287 h 973932"/>
                <a:gd name="connsiteX46" fmla="*/ 111919 w 483394"/>
                <a:gd name="connsiteY46" fmla="*/ 35719 h 973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83394" h="973932">
                  <a:moveTo>
                    <a:pt x="33337" y="626270"/>
                  </a:moveTo>
                  <a:cubicBezTo>
                    <a:pt x="53181" y="634208"/>
                    <a:pt x="56356" y="639763"/>
                    <a:pt x="76200" y="647701"/>
                  </a:cubicBezTo>
                  <a:lnTo>
                    <a:pt x="107156" y="633413"/>
                  </a:lnTo>
                  <a:lnTo>
                    <a:pt x="119062" y="652463"/>
                  </a:lnTo>
                  <a:lnTo>
                    <a:pt x="116681" y="678657"/>
                  </a:lnTo>
                  <a:cubicBezTo>
                    <a:pt x="130175" y="677070"/>
                    <a:pt x="143271" y="669926"/>
                    <a:pt x="157162" y="673895"/>
                  </a:cubicBezTo>
                  <a:cubicBezTo>
                    <a:pt x="171053" y="677864"/>
                    <a:pt x="185737" y="692945"/>
                    <a:pt x="200025" y="702470"/>
                  </a:cubicBezTo>
                  <a:lnTo>
                    <a:pt x="233362" y="690563"/>
                  </a:lnTo>
                  <a:lnTo>
                    <a:pt x="276225" y="721520"/>
                  </a:lnTo>
                  <a:lnTo>
                    <a:pt x="347662" y="719138"/>
                  </a:lnTo>
                  <a:lnTo>
                    <a:pt x="376237" y="771526"/>
                  </a:lnTo>
                  <a:lnTo>
                    <a:pt x="414337" y="769145"/>
                  </a:lnTo>
                  <a:lnTo>
                    <a:pt x="454819" y="733426"/>
                  </a:lnTo>
                  <a:lnTo>
                    <a:pt x="483394" y="783432"/>
                  </a:lnTo>
                  <a:lnTo>
                    <a:pt x="454819" y="795338"/>
                  </a:lnTo>
                  <a:lnTo>
                    <a:pt x="483394" y="828676"/>
                  </a:lnTo>
                  <a:lnTo>
                    <a:pt x="464344" y="845345"/>
                  </a:lnTo>
                  <a:lnTo>
                    <a:pt x="473869" y="912020"/>
                  </a:lnTo>
                  <a:lnTo>
                    <a:pt x="419100" y="973932"/>
                  </a:lnTo>
                  <a:lnTo>
                    <a:pt x="376237" y="914401"/>
                  </a:lnTo>
                  <a:lnTo>
                    <a:pt x="345281" y="959645"/>
                  </a:lnTo>
                  <a:lnTo>
                    <a:pt x="278606" y="904876"/>
                  </a:lnTo>
                  <a:lnTo>
                    <a:pt x="221456" y="931070"/>
                  </a:lnTo>
                  <a:lnTo>
                    <a:pt x="214312" y="850107"/>
                  </a:lnTo>
                  <a:lnTo>
                    <a:pt x="190500" y="850107"/>
                  </a:lnTo>
                  <a:lnTo>
                    <a:pt x="161925" y="795338"/>
                  </a:lnTo>
                  <a:lnTo>
                    <a:pt x="121443" y="714374"/>
                  </a:lnTo>
                  <a:lnTo>
                    <a:pt x="35718" y="685801"/>
                  </a:lnTo>
                  <a:lnTo>
                    <a:pt x="9525" y="633414"/>
                  </a:lnTo>
                  <a:close/>
                  <a:moveTo>
                    <a:pt x="154781" y="0"/>
                  </a:moveTo>
                  <a:lnTo>
                    <a:pt x="173831" y="30956"/>
                  </a:lnTo>
                  <a:lnTo>
                    <a:pt x="135731" y="66675"/>
                  </a:lnTo>
                  <a:lnTo>
                    <a:pt x="145256" y="85725"/>
                  </a:lnTo>
                  <a:lnTo>
                    <a:pt x="161925" y="111919"/>
                  </a:lnTo>
                  <a:lnTo>
                    <a:pt x="145256" y="140494"/>
                  </a:lnTo>
                  <a:lnTo>
                    <a:pt x="164306" y="166687"/>
                  </a:lnTo>
                  <a:lnTo>
                    <a:pt x="147637" y="209550"/>
                  </a:lnTo>
                  <a:lnTo>
                    <a:pt x="95250" y="202406"/>
                  </a:lnTo>
                  <a:lnTo>
                    <a:pt x="19050" y="242887"/>
                  </a:lnTo>
                  <a:lnTo>
                    <a:pt x="0" y="216694"/>
                  </a:lnTo>
                  <a:lnTo>
                    <a:pt x="66675" y="157162"/>
                  </a:lnTo>
                  <a:lnTo>
                    <a:pt x="83344" y="130969"/>
                  </a:lnTo>
                  <a:lnTo>
                    <a:pt x="28575" y="90487"/>
                  </a:lnTo>
                  <a:lnTo>
                    <a:pt x="2381" y="26194"/>
                  </a:lnTo>
                  <a:lnTo>
                    <a:pt x="57150" y="7144"/>
                  </a:lnTo>
                  <a:lnTo>
                    <a:pt x="76200" y="14287"/>
                  </a:lnTo>
                  <a:lnTo>
                    <a:pt x="111919" y="35719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_Map_Sachsen Anhalt">
              <a:extLst>
                <a:ext uri="{FF2B5EF4-FFF2-40B4-BE49-F238E27FC236}">
                  <a16:creationId xmlns:a16="http://schemas.microsoft.com/office/drawing/2014/main" id="{1986AC9C-FF87-43CE-A573-E676396E1A8A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2007221" y="2943706"/>
              <a:ext cx="895986" cy="1161715"/>
            </a:xfrm>
            <a:custGeom>
              <a:avLst/>
              <a:gdLst>
                <a:gd name="connsiteX0" fmla="*/ 973732 w 2497732"/>
                <a:gd name="connsiteY0" fmla="*/ 0 h 3238500"/>
                <a:gd name="connsiteX1" fmla="*/ 1081682 w 2497732"/>
                <a:gd name="connsiteY1" fmla="*/ 50800 h 3238500"/>
                <a:gd name="connsiteX2" fmla="*/ 1170582 w 2497732"/>
                <a:gd name="connsiteY2" fmla="*/ 57150 h 3238500"/>
                <a:gd name="connsiteX3" fmla="*/ 1246782 w 2497732"/>
                <a:gd name="connsiteY3" fmla="*/ 101600 h 3238500"/>
                <a:gd name="connsiteX4" fmla="*/ 1215032 w 2497732"/>
                <a:gd name="connsiteY4" fmla="*/ 171450 h 3238500"/>
                <a:gd name="connsiteX5" fmla="*/ 1361082 w 2497732"/>
                <a:gd name="connsiteY5" fmla="*/ 234950 h 3238500"/>
                <a:gd name="connsiteX6" fmla="*/ 1494432 w 2497732"/>
                <a:gd name="connsiteY6" fmla="*/ 222250 h 3238500"/>
                <a:gd name="connsiteX7" fmla="*/ 1519832 w 2497732"/>
                <a:gd name="connsiteY7" fmla="*/ 279400 h 3238500"/>
                <a:gd name="connsiteX8" fmla="*/ 1589682 w 2497732"/>
                <a:gd name="connsiteY8" fmla="*/ 254000 h 3238500"/>
                <a:gd name="connsiteX9" fmla="*/ 1634132 w 2497732"/>
                <a:gd name="connsiteY9" fmla="*/ 342900 h 3238500"/>
                <a:gd name="connsiteX10" fmla="*/ 1576982 w 2497732"/>
                <a:gd name="connsiteY10" fmla="*/ 438150 h 3238500"/>
                <a:gd name="connsiteX11" fmla="*/ 1621432 w 2497732"/>
                <a:gd name="connsiteY11" fmla="*/ 596900 h 3238500"/>
                <a:gd name="connsiteX12" fmla="*/ 1538882 w 2497732"/>
                <a:gd name="connsiteY12" fmla="*/ 654050 h 3238500"/>
                <a:gd name="connsiteX13" fmla="*/ 1519832 w 2497732"/>
                <a:gd name="connsiteY13" fmla="*/ 781050 h 3238500"/>
                <a:gd name="connsiteX14" fmla="*/ 1570632 w 2497732"/>
                <a:gd name="connsiteY14" fmla="*/ 844550 h 3238500"/>
                <a:gd name="connsiteX15" fmla="*/ 1608732 w 2497732"/>
                <a:gd name="connsiteY15" fmla="*/ 781050 h 3238500"/>
                <a:gd name="connsiteX16" fmla="*/ 1691282 w 2497732"/>
                <a:gd name="connsiteY16" fmla="*/ 850900 h 3238500"/>
                <a:gd name="connsiteX17" fmla="*/ 1659532 w 2497732"/>
                <a:gd name="connsiteY17" fmla="*/ 971550 h 3238500"/>
                <a:gd name="connsiteX18" fmla="*/ 1602382 w 2497732"/>
                <a:gd name="connsiteY18" fmla="*/ 1346200 h 3238500"/>
                <a:gd name="connsiteX19" fmla="*/ 1780182 w 2497732"/>
                <a:gd name="connsiteY19" fmla="*/ 1593850 h 3238500"/>
                <a:gd name="connsiteX20" fmla="*/ 1843682 w 2497732"/>
                <a:gd name="connsiteY20" fmla="*/ 1562100 h 3238500"/>
                <a:gd name="connsiteX21" fmla="*/ 1945282 w 2497732"/>
                <a:gd name="connsiteY21" fmla="*/ 1651000 h 3238500"/>
                <a:gd name="connsiteX22" fmla="*/ 2021482 w 2497732"/>
                <a:gd name="connsiteY22" fmla="*/ 1574800 h 3238500"/>
                <a:gd name="connsiteX23" fmla="*/ 2396132 w 2497732"/>
                <a:gd name="connsiteY23" fmla="*/ 1790700 h 3238500"/>
                <a:gd name="connsiteX24" fmla="*/ 2478682 w 2497732"/>
                <a:gd name="connsiteY24" fmla="*/ 1797050 h 3238500"/>
                <a:gd name="connsiteX25" fmla="*/ 2497732 w 2497732"/>
                <a:gd name="connsiteY25" fmla="*/ 2051050 h 3238500"/>
                <a:gd name="connsiteX26" fmla="*/ 2421532 w 2497732"/>
                <a:gd name="connsiteY26" fmla="*/ 2133600 h 3238500"/>
                <a:gd name="connsiteX27" fmla="*/ 2424284 w 2497732"/>
                <a:gd name="connsiteY27" fmla="*/ 2169372 h 3238500"/>
                <a:gd name="connsiteX28" fmla="*/ 2412642 w 2497732"/>
                <a:gd name="connsiteY28" fmla="*/ 2171700 h 3238500"/>
                <a:gd name="connsiteX29" fmla="*/ 2283102 w 2497732"/>
                <a:gd name="connsiteY29" fmla="*/ 2194560 h 3238500"/>
                <a:gd name="connsiteX30" fmla="*/ 2214522 w 2497732"/>
                <a:gd name="connsiteY30" fmla="*/ 2118360 h 3238500"/>
                <a:gd name="connsiteX31" fmla="*/ 2054502 w 2497732"/>
                <a:gd name="connsiteY31" fmla="*/ 2141220 h 3238500"/>
                <a:gd name="connsiteX32" fmla="*/ 2024022 w 2497732"/>
                <a:gd name="connsiteY32" fmla="*/ 2202180 h 3238500"/>
                <a:gd name="connsiteX33" fmla="*/ 1886862 w 2497732"/>
                <a:gd name="connsiteY33" fmla="*/ 2232660 h 3238500"/>
                <a:gd name="connsiteX34" fmla="*/ 1597302 w 2497732"/>
                <a:gd name="connsiteY34" fmla="*/ 2324100 h 3238500"/>
                <a:gd name="connsiteX35" fmla="*/ 1551582 w 2497732"/>
                <a:gd name="connsiteY35" fmla="*/ 2446020 h 3238500"/>
                <a:gd name="connsiteX36" fmla="*/ 1582062 w 2497732"/>
                <a:gd name="connsiteY36" fmla="*/ 2506980 h 3238500"/>
                <a:gd name="connsiteX37" fmla="*/ 1566822 w 2497732"/>
                <a:gd name="connsiteY37" fmla="*/ 2682240 h 3238500"/>
                <a:gd name="connsiteX38" fmla="*/ 1582062 w 2497732"/>
                <a:gd name="connsiteY38" fmla="*/ 2887980 h 3238500"/>
                <a:gd name="connsiteX39" fmla="*/ 1673502 w 2497732"/>
                <a:gd name="connsiteY39" fmla="*/ 3032760 h 3238500"/>
                <a:gd name="connsiteX40" fmla="*/ 1612542 w 2497732"/>
                <a:gd name="connsiteY40" fmla="*/ 3063240 h 3238500"/>
                <a:gd name="connsiteX41" fmla="*/ 1696362 w 2497732"/>
                <a:gd name="connsiteY41" fmla="*/ 3131820 h 3238500"/>
                <a:gd name="connsiteX42" fmla="*/ 1604922 w 2497732"/>
                <a:gd name="connsiteY42" fmla="*/ 3238500 h 3238500"/>
                <a:gd name="connsiteX43" fmla="*/ 1422042 w 2497732"/>
                <a:gd name="connsiteY43" fmla="*/ 3200400 h 3238500"/>
                <a:gd name="connsiteX44" fmla="*/ 1315362 w 2497732"/>
                <a:gd name="connsiteY44" fmla="*/ 3093720 h 3238500"/>
                <a:gd name="connsiteX45" fmla="*/ 1155342 w 2497732"/>
                <a:gd name="connsiteY45" fmla="*/ 3078480 h 3238500"/>
                <a:gd name="connsiteX46" fmla="*/ 995322 w 2497732"/>
                <a:gd name="connsiteY46" fmla="*/ 2971800 h 3238500"/>
                <a:gd name="connsiteX47" fmla="*/ 926742 w 2497732"/>
                <a:gd name="connsiteY47" fmla="*/ 3025140 h 3238500"/>
                <a:gd name="connsiteX48" fmla="*/ 873402 w 2497732"/>
                <a:gd name="connsiteY48" fmla="*/ 2857500 h 3238500"/>
                <a:gd name="connsiteX49" fmla="*/ 812442 w 2497732"/>
                <a:gd name="connsiteY49" fmla="*/ 2857500 h 3238500"/>
                <a:gd name="connsiteX50" fmla="*/ 827682 w 2497732"/>
                <a:gd name="connsiteY50" fmla="*/ 2796540 h 3238500"/>
                <a:gd name="connsiteX51" fmla="*/ 896262 w 2497732"/>
                <a:gd name="connsiteY51" fmla="*/ 2697480 h 3238500"/>
                <a:gd name="connsiteX52" fmla="*/ 789582 w 2497732"/>
                <a:gd name="connsiteY52" fmla="*/ 2560320 h 3238500"/>
                <a:gd name="connsiteX53" fmla="*/ 446682 w 2497732"/>
                <a:gd name="connsiteY53" fmla="*/ 2529840 h 3238500"/>
                <a:gd name="connsiteX54" fmla="*/ 370482 w 2497732"/>
                <a:gd name="connsiteY54" fmla="*/ 2316480 h 3238500"/>
                <a:gd name="connsiteX55" fmla="*/ 385722 w 2497732"/>
                <a:gd name="connsiteY55" fmla="*/ 2217420 h 3238500"/>
                <a:gd name="connsiteX56" fmla="*/ 137588 w 2497732"/>
                <a:gd name="connsiteY56" fmla="*/ 2187343 h 3238500"/>
                <a:gd name="connsiteX57" fmla="*/ 139700 w 2497732"/>
                <a:gd name="connsiteY57" fmla="*/ 2184079 h 3238500"/>
                <a:gd name="connsiteX58" fmla="*/ 44450 w 2497732"/>
                <a:gd name="connsiteY58" fmla="*/ 1968179 h 3238500"/>
                <a:gd name="connsiteX59" fmla="*/ 19050 w 2497732"/>
                <a:gd name="connsiteY59" fmla="*/ 1879279 h 3238500"/>
                <a:gd name="connsiteX60" fmla="*/ 101600 w 2497732"/>
                <a:gd name="connsiteY60" fmla="*/ 1771329 h 3238500"/>
                <a:gd name="connsiteX61" fmla="*/ 57150 w 2497732"/>
                <a:gd name="connsiteY61" fmla="*/ 1726879 h 3238500"/>
                <a:gd name="connsiteX62" fmla="*/ 63500 w 2497732"/>
                <a:gd name="connsiteY62" fmla="*/ 1688779 h 3238500"/>
                <a:gd name="connsiteX63" fmla="*/ 0 w 2497732"/>
                <a:gd name="connsiteY63" fmla="*/ 1618929 h 3238500"/>
                <a:gd name="connsiteX64" fmla="*/ 114300 w 2497732"/>
                <a:gd name="connsiteY64" fmla="*/ 1542729 h 3238500"/>
                <a:gd name="connsiteX65" fmla="*/ 381000 w 2497732"/>
                <a:gd name="connsiteY65" fmla="*/ 1536379 h 3238500"/>
                <a:gd name="connsiteX66" fmla="*/ 368300 w 2497732"/>
                <a:gd name="connsiteY66" fmla="*/ 1441129 h 3238500"/>
                <a:gd name="connsiteX67" fmla="*/ 476250 w 2497732"/>
                <a:gd name="connsiteY67" fmla="*/ 1390329 h 3238500"/>
                <a:gd name="connsiteX68" fmla="*/ 425450 w 2497732"/>
                <a:gd name="connsiteY68" fmla="*/ 1352229 h 3238500"/>
                <a:gd name="connsiteX69" fmla="*/ 508000 w 2497732"/>
                <a:gd name="connsiteY69" fmla="*/ 1237929 h 3238500"/>
                <a:gd name="connsiteX70" fmla="*/ 450850 w 2497732"/>
                <a:gd name="connsiteY70" fmla="*/ 1180779 h 3238500"/>
                <a:gd name="connsiteX71" fmla="*/ 469900 w 2497732"/>
                <a:gd name="connsiteY71" fmla="*/ 1136329 h 3238500"/>
                <a:gd name="connsiteX72" fmla="*/ 419100 w 2497732"/>
                <a:gd name="connsiteY72" fmla="*/ 1091879 h 3238500"/>
                <a:gd name="connsiteX73" fmla="*/ 501650 w 2497732"/>
                <a:gd name="connsiteY73" fmla="*/ 1060129 h 3238500"/>
                <a:gd name="connsiteX74" fmla="*/ 361950 w 2497732"/>
                <a:gd name="connsiteY74" fmla="*/ 882329 h 3238500"/>
                <a:gd name="connsiteX75" fmla="*/ 400050 w 2497732"/>
                <a:gd name="connsiteY75" fmla="*/ 844229 h 3238500"/>
                <a:gd name="connsiteX76" fmla="*/ 425450 w 2497732"/>
                <a:gd name="connsiteY76" fmla="*/ 837879 h 3238500"/>
                <a:gd name="connsiteX77" fmla="*/ 368300 w 2497732"/>
                <a:gd name="connsiteY77" fmla="*/ 717229 h 3238500"/>
                <a:gd name="connsiteX78" fmla="*/ 393700 w 2497732"/>
                <a:gd name="connsiteY78" fmla="*/ 647379 h 3238500"/>
                <a:gd name="connsiteX79" fmla="*/ 393700 w 2497732"/>
                <a:gd name="connsiteY79" fmla="*/ 615629 h 3238500"/>
                <a:gd name="connsiteX80" fmla="*/ 342900 w 2497732"/>
                <a:gd name="connsiteY80" fmla="*/ 666429 h 3238500"/>
                <a:gd name="connsiteX81" fmla="*/ 215900 w 2497732"/>
                <a:gd name="connsiteY81" fmla="*/ 456879 h 3238500"/>
                <a:gd name="connsiteX82" fmla="*/ 203200 w 2497732"/>
                <a:gd name="connsiteY82" fmla="*/ 304479 h 3238500"/>
                <a:gd name="connsiteX83" fmla="*/ 374650 w 2497732"/>
                <a:gd name="connsiteY83" fmla="*/ 285429 h 3238500"/>
                <a:gd name="connsiteX84" fmla="*/ 419100 w 2497732"/>
                <a:gd name="connsiteY84" fmla="*/ 190180 h 3238500"/>
                <a:gd name="connsiteX85" fmla="*/ 514350 w 2497732"/>
                <a:gd name="connsiteY85" fmla="*/ 183829 h 3238500"/>
                <a:gd name="connsiteX86" fmla="*/ 527050 w 2497732"/>
                <a:gd name="connsiteY86" fmla="*/ 234629 h 3238500"/>
                <a:gd name="connsiteX87" fmla="*/ 698500 w 2497732"/>
                <a:gd name="connsiteY87" fmla="*/ 260029 h 3238500"/>
                <a:gd name="connsiteX88" fmla="*/ 889000 w 2497732"/>
                <a:gd name="connsiteY88" fmla="*/ 139379 h 3238500"/>
                <a:gd name="connsiteX89" fmla="*/ 920750 w 2497732"/>
                <a:gd name="connsiteY89" fmla="*/ 44129 h 3238500"/>
                <a:gd name="connsiteX90" fmla="*/ 959469 w 2497732"/>
                <a:gd name="connsiteY90" fmla="*/ 5410 h 323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2497732" h="3238500">
                  <a:moveTo>
                    <a:pt x="973732" y="0"/>
                  </a:moveTo>
                  <a:lnTo>
                    <a:pt x="1081682" y="50800"/>
                  </a:lnTo>
                  <a:lnTo>
                    <a:pt x="1170582" y="57150"/>
                  </a:lnTo>
                  <a:lnTo>
                    <a:pt x="1246782" y="101600"/>
                  </a:lnTo>
                  <a:lnTo>
                    <a:pt x="1215032" y="171450"/>
                  </a:lnTo>
                  <a:lnTo>
                    <a:pt x="1361082" y="234950"/>
                  </a:lnTo>
                  <a:lnTo>
                    <a:pt x="1494432" y="222250"/>
                  </a:lnTo>
                  <a:lnTo>
                    <a:pt x="1519832" y="279400"/>
                  </a:lnTo>
                  <a:lnTo>
                    <a:pt x="1589682" y="254000"/>
                  </a:lnTo>
                  <a:lnTo>
                    <a:pt x="1634132" y="342900"/>
                  </a:lnTo>
                  <a:lnTo>
                    <a:pt x="1576982" y="438150"/>
                  </a:lnTo>
                  <a:lnTo>
                    <a:pt x="1621432" y="596900"/>
                  </a:lnTo>
                  <a:lnTo>
                    <a:pt x="1538882" y="654050"/>
                  </a:lnTo>
                  <a:lnTo>
                    <a:pt x="1519832" y="781050"/>
                  </a:lnTo>
                  <a:lnTo>
                    <a:pt x="1570632" y="844550"/>
                  </a:lnTo>
                  <a:lnTo>
                    <a:pt x="1608732" y="781050"/>
                  </a:lnTo>
                  <a:lnTo>
                    <a:pt x="1691282" y="850900"/>
                  </a:lnTo>
                  <a:lnTo>
                    <a:pt x="1659532" y="971550"/>
                  </a:lnTo>
                  <a:lnTo>
                    <a:pt x="1602382" y="1346200"/>
                  </a:lnTo>
                  <a:lnTo>
                    <a:pt x="1780182" y="1593850"/>
                  </a:lnTo>
                  <a:lnTo>
                    <a:pt x="1843682" y="1562100"/>
                  </a:lnTo>
                  <a:lnTo>
                    <a:pt x="1945282" y="1651000"/>
                  </a:lnTo>
                  <a:lnTo>
                    <a:pt x="2021482" y="1574800"/>
                  </a:lnTo>
                  <a:lnTo>
                    <a:pt x="2396132" y="1790700"/>
                  </a:lnTo>
                  <a:lnTo>
                    <a:pt x="2478682" y="1797050"/>
                  </a:lnTo>
                  <a:lnTo>
                    <a:pt x="2497732" y="2051050"/>
                  </a:lnTo>
                  <a:lnTo>
                    <a:pt x="2421532" y="2133600"/>
                  </a:lnTo>
                  <a:lnTo>
                    <a:pt x="2424284" y="2169372"/>
                  </a:lnTo>
                  <a:lnTo>
                    <a:pt x="2412642" y="2171700"/>
                  </a:lnTo>
                  <a:lnTo>
                    <a:pt x="2283102" y="2194560"/>
                  </a:lnTo>
                  <a:lnTo>
                    <a:pt x="2214522" y="2118360"/>
                  </a:lnTo>
                  <a:lnTo>
                    <a:pt x="2054502" y="2141220"/>
                  </a:lnTo>
                  <a:lnTo>
                    <a:pt x="2024022" y="2202180"/>
                  </a:lnTo>
                  <a:lnTo>
                    <a:pt x="1886862" y="2232660"/>
                  </a:lnTo>
                  <a:lnTo>
                    <a:pt x="1597302" y="2324100"/>
                  </a:lnTo>
                  <a:lnTo>
                    <a:pt x="1551582" y="2446020"/>
                  </a:lnTo>
                  <a:lnTo>
                    <a:pt x="1582062" y="2506980"/>
                  </a:lnTo>
                  <a:lnTo>
                    <a:pt x="1566822" y="2682240"/>
                  </a:lnTo>
                  <a:lnTo>
                    <a:pt x="1582062" y="2887980"/>
                  </a:lnTo>
                  <a:lnTo>
                    <a:pt x="1673502" y="3032760"/>
                  </a:lnTo>
                  <a:lnTo>
                    <a:pt x="1612542" y="3063240"/>
                  </a:lnTo>
                  <a:lnTo>
                    <a:pt x="1696362" y="3131820"/>
                  </a:lnTo>
                  <a:lnTo>
                    <a:pt x="1604922" y="3238500"/>
                  </a:lnTo>
                  <a:lnTo>
                    <a:pt x="1422042" y="3200400"/>
                  </a:lnTo>
                  <a:lnTo>
                    <a:pt x="1315362" y="3093720"/>
                  </a:lnTo>
                  <a:lnTo>
                    <a:pt x="1155342" y="3078480"/>
                  </a:lnTo>
                  <a:lnTo>
                    <a:pt x="995322" y="2971800"/>
                  </a:lnTo>
                  <a:lnTo>
                    <a:pt x="926742" y="3025140"/>
                  </a:lnTo>
                  <a:lnTo>
                    <a:pt x="873402" y="2857500"/>
                  </a:lnTo>
                  <a:lnTo>
                    <a:pt x="812442" y="2857500"/>
                  </a:lnTo>
                  <a:lnTo>
                    <a:pt x="827682" y="2796540"/>
                  </a:lnTo>
                  <a:lnTo>
                    <a:pt x="896262" y="2697480"/>
                  </a:lnTo>
                  <a:lnTo>
                    <a:pt x="789582" y="2560320"/>
                  </a:lnTo>
                  <a:lnTo>
                    <a:pt x="446682" y="2529840"/>
                  </a:lnTo>
                  <a:lnTo>
                    <a:pt x="370482" y="2316480"/>
                  </a:lnTo>
                  <a:lnTo>
                    <a:pt x="385722" y="2217420"/>
                  </a:lnTo>
                  <a:lnTo>
                    <a:pt x="137588" y="2187343"/>
                  </a:lnTo>
                  <a:lnTo>
                    <a:pt x="139700" y="2184079"/>
                  </a:lnTo>
                  <a:lnTo>
                    <a:pt x="44450" y="1968179"/>
                  </a:lnTo>
                  <a:lnTo>
                    <a:pt x="19050" y="1879279"/>
                  </a:lnTo>
                  <a:lnTo>
                    <a:pt x="101600" y="1771329"/>
                  </a:lnTo>
                  <a:lnTo>
                    <a:pt x="57150" y="1726879"/>
                  </a:lnTo>
                  <a:lnTo>
                    <a:pt x="63500" y="1688779"/>
                  </a:lnTo>
                  <a:lnTo>
                    <a:pt x="0" y="1618929"/>
                  </a:lnTo>
                  <a:lnTo>
                    <a:pt x="114300" y="1542729"/>
                  </a:lnTo>
                  <a:lnTo>
                    <a:pt x="381000" y="1536379"/>
                  </a:lnTo>
                  <a:lnTo>
                    <a:pt x="368300" y="1441129"/>
                  </a:lnTo>
                  <a:lnTo>
                    <a:pt x="476250" y="1390329"/>
                  </a:lnTo>
                  <a:lnTo>
                    <a:pt x="425450" y="1352229"/>
                  </a:lnTo>
                  <a:lnTo>
                    <a:pt x="508000" y="1237929"/>
                  </a:lnTo>
                  <a:lnTo>
                    <a:pt x="450850" y="1180779"/>
                  </a:lnTo>
                  <a:lnTo>
                    <a:pt x="469900" y="1136329"/>
                  </a:lnTo>
                  <a:lnTo>
                    <a:pt x="419100" y="1091879"/>
                  </a:lnTo>
                  <a:lnTo>
                    <a:pt x="501650" y="1060129"/>
                  </a:lnTo>
                  <a:lnTo>
                    <a:pt x="361950" y="882329"/>
                  </a:lnTo>
                  <a:lnTo>
                    <a:pt x="400050" y="844229"/>
                  </a:lnTo>
                  <a:lnTo>
                    <a:pt x="425450" y="837879"/>
                  </a:lnTo>
                  <a:lnTo>
                    <a:pt x="368300" y="717229"/>
                  </a:lnTo>
                  <a:lnTo>
                    <a:pt x="393700" y="647379"/>
                  </a:lnTo>
                  <a:lnTo>
                    <a:pt x="393700" y="615629"/>
                  </a:lnTo>
                  <a:lnTo>
                    <a:pt x="342900" y="666429"/>
                  </a:lnTo>
                  <a:lnTo>
                    <a:pt x="215900" y="456879"/>
                  </a:lnTo>
                  <a:lnTo>
                    <a:pt x="203200" y="304479"/>
                  </a:lnTo>
                  <a:lnTo>
                    <a:pt x="374650" y="285429"/>
                  </a:lnTo>
                  <a:lnTo>
                    <a:pt x="419100" y="190180"/>
                  </a:lnTo>
                  <a:lnTo>
                    <a:pt x="514350" y="183829"/>
                  </a:lnTo>
                  <a:lnTo>
                    <a:pt x="527050" y="234629"/>
                  </a:lnTo>
                  <a:lnTo>
                    <a:pt x="698500" y="260029"/>
                  </a:lnTo>
                  <a:lnTo>
                    <a:pt x="889000" y="139379"/>
                  </a:lnTo>
                  <a:lnTo>
                    <a:pt x="920750" y="44129"/>
                  </a:lnTo>
                  <a:lnTo>
                    <a:pt x="959469" y="5410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_Map_Sachsen">
              <a:extLst>
                <a:ext uri="{FF2B5EF4-FFF2-40B4-BE49-F238E27FC236}">
                  <a16:creationId xmlns:a16="http://schemas.microsoft.com/office/drawing/2014/main" id="{0955F3E9-599C-4313-8085-1F3D191D9690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2474967" y="3703603"/>
              <a:ext cx="1070173" cy="840277"/>
            </a:xfrm>
            <a:custGeom>
              <a:avLst/>
              <a:gdLst>
                <a:gd name="connsiteX0" fmla="*/ 910590 w 2983310"/>
                <a:gd name="connsiteY0" fmla="*/ 178699 h 2521131"/>
                <a:gd name="connsiteX1" fmla="*/ 979170 w 2983310"/>
                <a:gd name="connsiteY1" fmla="*/ 254899 h 2521131"/>
                <a:gd name="connsiteX2" fmla="*/ 1108710 w 2983310"/>
                <a:gd name="connsiteY2" fmla="*/ 232039 h 2521131"/>
                <a:gd name="connsiteX3" fmla="*/ 1120352 w 2983310"/>
                <a:gd name="connsiteY3" fmla="*/ 229711 h 2521131"/>
                <a:gd name="connsiteX4" fmla="*/ 1123950 w 2983310"/>
                <a:gd name="connsiteY4" fmla="*/ 276489 h 2521131"/>
                <a:gd name="connsiteX5" fmla="*/ 1168400 w 2983310"/>
                <a:gd name="connsiteY5" fmla="*/ 276489 h 2521131"/>
                <a:gd name="connsiteX6" fmla="*/ 1219200 w 2983310"/>
                <a:gd name="connsiteY6" fmla="*/ 378089 h 2521131"/>
                <a:gd name="connsiteX7" fmla="*/ 1200150 w 2983310"/>
                <a:gd name="connsiteY7" fmla="*/ 536839 h 2521131"/>
                <a:gd name="connsiteX8" fmla="*/ 1257300 w 2983310"/>
                <a:gd name="connsiteY8" fmla="*/ 593989 h 2521131"/>
                <a:gd name="connsiteX9" fmla="*/ 1384300 w 2983310"/>
                <a:gd name="connsiteY9" fmla="*/ 530489 h 2521131"/>
                <a:gd name="connsiteX10" fmla="*/ 1435100 w 2983310"/>
                <a:gd name="connsiteY10" fmla="*/ 524139 h 2521131"/>
                <a:gd name="connsiteX11" fmla="*/ 1568450 w 2983310"/>
                <a:gd name="connsiteY11" fmla="*/ 625739 h 2521131"/>
                <a:gd name="connsiteX12" fmla="*/ 1962150 w 2983310"/>
                <a:gd name="connsiteY12" fmla="*/ 619389 h 2521131"/>
                <a:gd name="connsiteX13" fmla="*/ 2108200 w 2983310"/>
                <a:gd name="connsiteY13" fmla="*/ 359039 h 2521131"/>
                <a:gd name="connsiteX14" fmla="*/ 2286000 w 2983310"/>
                <a:gd name="connsiteY14" fmla="*/ 416189 h 2521131"/>
                <a:gd name="connsiteX15" fmla="*/ 2527300 w 2983310"/>
                <a:gd name="connsiteY15" fmla="*/ 320939 h 2521131"/>
                <a:gd name="connsiteX16" fmla="*/ 2546350 w 2983310"/>
                <a:gd name="connsiteY16" fmla="*/ 359039 h 2521131"/>
                <a:gd name="connsiteX17" fmla="*/ 2711450 w 2983310"/>
                <a:gd name="connsiteY17" fmla="*/ 276489 h 2521131"/>
                <a:gd name="connsiteX18" fmla="*/ 2737266 w 2983310"/>
                <a:gd name="connsiteY18" fmla="*/ 289397 h 2521131"/>
                <a:gd name="connsiteX19" fmla="*/ 2747998 w 2983310"/>
                <a:gd name="connsiteY19" fmla="*/ 450384 h 2521131"/>
                <a:gd name="connsiteX20" fmla="*/ 2983310 w 2983310"/>
                <a:gd name="connsiteY20" fmla="*/ 481759 h 2521131"/>
                <a:gd name="connsiteX21" fmla="*/ 2951935 w 2983310"/>
                <a:gd name="connsiteY21" fmla="*/ 638634 h 2521131"/>
                <a:gd name="connsiteX22" fmla="*/ 2983310 w 2983310"/>
                <a:gd name="connsiteY22" fmla="*/ 842571 h 2521131"/>
                <a:gd name="connsiteX23" fmla="*/ 2951935 w 2983310"/>
                <a:gd name="connsiteY23" fmla="*/ 1077883 h 2521131"/>
                <a:gd name="connsiteX24" fmla="*/ 2842123 w 2983310"/>
                <a:gd name="connsiteY24" fmla="*/ 1407320 h 2521131"/>
                <a:gd name="connsiteX25" fmla="*/ 2834882 w 2983310"/>
                <a:gd name="connsiteY25" fmla="*/ 1477311 h 2521131"/>
                <a:gd name="connsiteX26" fmla="*/ 2826435 w 2983310"/>
                <a:gd name="connsiteY26" fmla="*/ 1470070 h 2521131"/>
                <a:gd name="connsiteX27" fmla="*/ 2693092 w 2983310"/>
                <a:gd name="connsiteY27" fmla="*/ 1524976 h 2521131"/>
                <a:gd name="connsiteX28" fmla="*/ 2630342 w 2983310"/>
                <a:gd name="connsiteY28" fmla="*/ 1368102 h 2521131"/>
                <a:gd name="connsiteX29" fmla="*/ 2575436 w 2983310"/>
                <a:gd name="connsiteY29" fmla="*/ 1305352 h 2521131"/>
                <a:gd name="connsiteX30" fmla="*/ 2520530 w 2983310"/>
                <a:gd name="connsiteY30" fmla="*/ 1117102 h 2521131"/>
                <a:gd name="connsiteX31" fmla="*/ 2308750 w 2983310"/>
                <a:gd name="connsiteY31" fmla="*/ 1211227 h 2521131"/>
                <a:gd name="connsiteX32" fmla="*/ 2347968 w 2983310"/>
                <a:gd name="connsiteY32" fmla="*/ 1336727 h 2521131"/>
                <a:gd name="connsiteX33" fmla="*/ 2410718 w 2983310"/>
                <a:gd name="connsiteY33" fmla="*/ 1399477 h 2521131"/>
                <a:gd name="connsiteX34" fmla="*/ 2285218 w 2983310"/>
                <a:gd name="connsiteY34" fmla="*/ 1470070 h 2521131"/>
                <a:gd name="connsiteX35" fmla="*/ 1971469 w 2983310"/>
                <a:gd name="connsiteY35" fmla="*/ 1579883 h 2521131"/>
                <a:gd name="connsiteX36" fmla="*/ 1916563 w 2983310"/>
                <a:gd name="connsiteY36" fmla="*/ 1666164 h 2521131"/>
                <a:gd name="connsiteX37" fmla="*/ 1579283 w 2983310"/>
                <a:gd name="connsiteY37" fmla="*/ 1705382 h 2521131"/>
                <a:gd name="connsiteX38" fmla="*/ 1485158 w 2983310"/>
                <a:gd name="connsiteY38" fmla="*/ 1854413 h 2521131"/>
                <a:gd name="connsiteX39" fmla="*/ 1398877 w 2983310"/>
                <a:gd name="connsiteY39" fmla="*/ 1830882 h 2521131"/>
                <a:gd name="connsiteX40" fmla="*/ 1304752 w 2983310"/>
                <a:gd name="connsiteY40" fmla="*/ 1940695 h 2521131"/>
                <a:gd name="connsiteX41" fmla="*/ 1234159 w 2983310"/>
                <a:gd name="connsiteY41" fmla="*/ 2042663 h 2521131"/>
                <a:gd name="connsiteX42" fmla="*/ 1069440 w 2983310"/>
                <a:gd name="connsiteY42" fmla="*/ 1979913 h 2521131"/>
                <a:gd name="connsiteX43" fmla="*/ 1053753 w 2983310"/>
                <a:gd name="connsiteY43" fmla="*/ 2160319 h 2521131"/>
                <a:gd name="connsiteX44" fmla="*/ 896878 w 2983310"/>
                <a:gd name="connsiteY44" fmla="*/ 2081882 h 2521131"/>
                <a:gd name="connsiteX45" fmla="*/ 763535 w 2983310"/>
                <a:gd name="connsiteY45" fmla="*/ 2176007 h 2521131"/>
                <a:gd name="connsiteX46" fmla="*/ 606660 w 2983310"/>
                <a:gd name="connsiteY46" fmla="*/ 2168163 h 2521131"/>
                <a:gd name="connsiteX47" fmla="*/ 418411 w 2983310"/>
                <a:gd name="connsiteY47" fmla="*/ 2411319 h 2521131"/>
                <a:gd name="connsiteX48" fmla="*/ 418411 w 2983310"/>
                <a:gd name="connsiteY48" fmla="*/ 2521131 h 2521131"/>
                <a:gd name="connsiteX49" fmla="*/ 343508 w 2983310"/>
                <a:gd name="connsiteY49" fmla="*/ 2412523 h 2521131"/>
                <a:gd name="connsiteX50" fmla="*/ 304800 w 2983310"/>
                <a:gd name="connsiteY50" fmla="*/ 2257689 h 2521131"/>
                <a:gd name="connsiteX51" fmla="*/ 222250 w 2983310"/>
                <a:gd name="connsiteY51" fmla="*/ 2238639 h 2521131"/>
                <a:gd name="connsiteX52" fmla="*/ 107950 w 2983310"/>
                <a:gd name="connsiteY52" fmla="*/ 2213239 h 2521131"/>
                <a:gd name="connsiteX53" fmla="*/ 38100 w 2983310"/>
                <a:gd name="connsiteY53" fmla="*/ 2054489 h 2521131"/>
                <a:gd name="connsiteX54" fmla="*/ 95250 w 2983310"/>
                <a:gd name="connsiteY54" fmla="*/ 1984639 h 2521131"/>
                <a:gd name="connsiteX55" fmla="*/ 38100 w 2983310"/>
                <a:gd name="connsiteY55" fmla="*/ 1946539 h 2521131"/>
                <a:gd name="connsiteX56" fmla="*/ 0 w 2983310"/>
                <a:gd name="connsiteY56" fmla="*/ 1902089 h 2521131"/>
                <a:gd name="connsiteX57" fmla="*/ 88900 w 2983310"/>
                <a:gd name="connsiteY57" fmla="*/ 1775089 h 2521131"/>
                <a:gd name="connsiteX58" fmla="*/ 120650 w 2983310"/>
                <a:gd name="connsiteY58" fmla="*/ 1883039 h 2521131"/>
                <a:gd name="connsiteX59" fmla="*/ 234950 w 2983310"/>
                <a:gd name="connsiteY59" fmla="*/ 1876689 h 2521131"/>
                <a:gd name="connsiteX60" fmla="*/ 234950 w 2983310"/>
                <a:gd name="connsiteY60" fmla="*/ 1825889 h 2521131"/>
                <a:gd name="connsiteX61" fmla="*/ 266700 w 2983310"/>
                <a:gd name="connsiteY61" fmla="*/ 1762389 h 2521131"/>
                <a:gd name="connsiteX62" fmla="*/ 336550 w 2983310"/>
                <a:gd name="connsiteY62" fmla="*/ 1762389 h 2521131"/>
                <a:gd name="connsiteX63" fmla="*/ 381000 w 2983310"/>
                <a:gd name="connsiteY63" fmla="*/ 1717939 h 2521131"/>
                <a:gd name="connsiteX64" fmla="*/ 323850 w 2983310"/>
                <a:gd name="connsiteY64" fmla="*/ 1584589 h 2521131"/>
                <a:gd name="connsiteX65" fmla="*/ 342900 w 2983310"/>
                <a:gd name="connsiteY65" fmla="*/ 1508389 h 2521131"/>
                <a:gd name="connsiteX66" fmla="*/ 444500 w 2983310"/>
                <a:gd name="connsiteY66" fmla="*/ 1432189 h 2521131"/>
                <a:gd name="connsiteX67" fmla="*/ 501650 w 2983310"/>
                <a:gd name="connsiteY67" fmla="*/ 1451239 h 2521131"/>
                <a:gd name="connsiteX68" fmla="*/ 571500 w 2983310"/>
                <a:gd name="connsiteY68" fmla="*/ 1355989 h 2521131"/>
                <a:gd name="connsiteX69" fmla="*/ 742950 w 2983310"/>
                <a:gd name="connsiteY69" fmla="*/ 1349639 h 2521131"/>
                <a:gd name="connsiteX70" fmla="*/ 641350 w 2983310"/>
                <a:gd name="connsiteY70" fmla="*/ 1228989 h 2521131"/>
                <a:gd name="connsiteX71" fmla="*/ 539750 w 2983310"/>
                <a:gd name="connsiteY71" fmla="*/ 1089289 h 2521131"/>
                <a:gd name="connsiteX72" fmla="*/ 367164 w 2983310"/>
                <a:gd name="connsiteY72" fmla="*/ 1089289 h 2521131"/>
                <a:gd name="connsiteX73" fmla="*/ 278130 w 2983310"/>
                <a:gd name="connsiteY73" fmla="*/ 948319 h 2521131"/>
                <a:gd name="connsiteX74" fmla="*/ 262890 w 2983310"/>
                <a:gd name="connsiteY74" fmla="*/ 742579 h 2521131"/>
                <a:gd name="connsiteX75" fmla="*/ 278130 w 2983310"/>
                <a:gd name="connsiteY75" fmla="*/ 567319 h 2521131"/>
                <a:gd name="connsiteX76" fmla="*/ 247650 w 2983310"/>
                <a:gd name="connsiteY76" fmla="*/ 506359 h 2521131"/>
                <a:gd name="connsiteX77" fmla="*/ 293370 w 2983310"/>
                <a:gd name="connsiteY77" fmla="*/ 384439 h 2521131"/>
                <a:gd name="connsiteX78" fmla="*/ 582930 w 2983310"/>
                <a:gd name="connsiteY78" fmla="*/ 292999 h 2521131"/>
                <a:gd name="connsiteX79" fmla="*/ 720090 w 2983310"/>
                <a:gd name="connsiteY79" fmla="*/ 262519 h 2521131"/>
                <a:gd name="connsiteX80" fmla="*/ 750570 w 2983310"/>
                <a:gd name="connsiteY80" fmla="*/ 201559 h 2521131"/>
                <a:gd name="connsiteX81" fmla="*/ 1185446 w 2983310"/>
                <a:gd name="connsiteY81" fmla="*/ 0 h 2521131"/>
                <a:gd name="connsiteX82" fmla="*/ 1193800 w 2983310"/>
                <a:gd name="connsiteY82" fmla="*/ 111389 h 2521131"/>
                <a:gd name="connsiteX83" fmla="*/ 1185446 w 2983310"/>
                <a:gd name="connsiteY83" fmla="*/ 0 h 2521131"/>
                <a:gd name="connsiteX0" fmla="*/ 910590 w 2983310"/>
                <a:gd name="connsiteY0" fmla="*/ 0 h 2342432"/>
                <a:gd name="connsiteX1" fmla="*/ 979170 w 2983310"/>
                <a:gd name="connsiteY1" fmla="*/ 76200 h 2342432"/>
                <a:gd name="connsiteX2" fmla="*/ 1108710 w 2983310"/>
                <a:gd name="connsiteY2" fmla="*/ 53340 h 2342432"/>
                <a:gd name="connsiteX3" fmla="*/ 1120352 w 2983310"/>
                <a:gd name="connsiteY3" fmla="*/ 51012 h 2342432"/>
                <a:gd name="connsiteX4" fmla="*/ 1123950 w 2983310"/>
                <a:gd name="connsiteY4" fmla="*/ 97790 h 2342432"/>
                <a:gd name="connsiteX5" fmla="*/ 1168400 w 2983310"/>
                <a:gd name="connsiteY5" fmla="*/ 97790 h 2342432"/>
                <a:gd name="connsiteX6" fmla="*/ 1219200 w 2983310"/>
                <a:gd name="connsiteY6" fmla="*/ 199390 h 2342432"/>
                <a:gd name="connsiteX7" fmla="*/ 1200150 w 2983310"/>
                <a:gd name="connsiteY7" fmla="*/ 358140 h 2342432"/>
                <a:gd name="connsiteX8" fmla="*/ 1257300 w 2983310"/>
                <a:gd name="connsiteY8" fmla="*/ 415290 h 2342432"/>
                <a:gd name="connsiteX9" fmla="*/ 1384300 w 2983310"/>
                <a:gd name="connsiteY9" fmla="*/ 351790 h 2342432"/>
                <a:gd name="connsiteX10" fmla="*/ 1435100 w 2983310"/>
                <a:gd name="connsiteY10" fmla="*/ 345440 h 2342432"/>
                <a:gd name="connsiteX11" fmla="*/ 1568450 w 2983310"/>
                <a:gd name="connsiteY11" fmla="*/ 447040 h 2342432"/>
                <a:gd name="connsiteX12" fmla="*/ 1962150 w 2983310"/>
                <a:gd name="connsiteY12" fmla="*/ 440690 h 2342432"/>
                <a:gd name="connsiteX13" fmla="*/ 2108200 w 2983310"/>
                <a:gd name="connsiteY13" fmla="*/ 180340 h 2342432"/>
                <a:gd name="connsiteX14" fmla="*/ 2286000 w 2983310"/>
                <a:gd name="connsiteY14" fmla="*/ 237490 h 2342432"/>
                <a:gd name="connsiteX15" fmla="*/ 2527300 w 2983310"/>
                <a:gd name="connsiteY15" fmla="*/ 142240 h 2342432"/>
                <a:gd name="connsiteX16" fmla="*/ 2546350 w 2983310"/>
                <a:gd name="connsiteY16" fmla="*/ 180340 h 2342432"/>
                <a:gd name="connsiteX17" fmla="*/ 2711450 w 2983310"/>
                <a:gd name="connsiteY17" fmla="*/ 97790 h 2342432"/>
                <a:gd name="connsiteX18" fmla="*/ 2737266 w 2983310"/>
                <a:gd name="connsiteY18" fmla="*/ 110698 h 2342432"/>
                <a:gd name="connsiteX19" fmla="*/ 2747998 w 2983310"/>
                <a:gd name="connsiteY19" fmla="*/ 271685 h 2342432"/>
                <a:gd name="connsiteX20" fmla="*/ 2983310 w 2983310"/>
                <a:gd name="connsiteY20" fmla="*/ 303060 h 2342432"/>
                <a:gd name="connsiteX21" fmla="*/ 2951935 w 2983310"/>
                <a:gd name="connsiteY21" fmla="*/ 459935 h 2342432"/>
                <a:gd name="connsiteX22" fmla="*/ 2983310 w 2983310"/>
                <a:gd name="connsiteY22" fmla="*/ 663872 h 2342432"/>
                <a:gd name="connsiteX23" fmla="*/ 2951935 w 2983310"/>
                <a:gd name="connsiteY23" fmla="*/ 899184 h 2342432"/>
                <a:gd name="connsiteX24" fmla="*/ 2842123 w 2983310"/>
                <a:gd name="connsiteY24" fmla="*/ 1228621 h 2342432"/>
                <a:gd name="connsiteX25" fmla="*/ 2834882 w 2983310"/>
                <a:gd name="connsiteY25" fmla="*/ 1298612 h 2342432"/>
                <a:gd name="connsiteX26" fmla="*/ 2826435 w 2983310"/>
                <a:gd name="connsiteY26" fmla="*/ 1291371 h 2342432"/>
                <a:gd name="connsiteX27" fmla="*/ 2693092 w 2983310"/>
                <a:gd name="connsiteY27" fmla="*/ 1346277 h 2342432"/>
                <a:gd name="connsiteX28" fmla="*/ 2630342 w 2983310"/>
                <a:gd name="connsiteY28" fmla="*/ 1189403 h 2342432"/>
                <a:gd name="connsiteX29" fmla="*/ 2575436 w 2983310"/>
                <a:gd name="connsiteY29" fmla="*/ 1126653 h 2342432"/>
                <a:gd name="connsiteX30" fmla="*/ 2520530 w 2983310"/>
                <a:gd name="connsiteY30" fmla="*/ 938403 h 2342432"/>
                <a:gd name="connsiteX31" fmla="*/ 2308750 w 2983310"/>
                <a:gd name="connsiteY31" fmla="*/ 1032528 h 2342432"/>
                <a:gd name="connsiteX32" fmla="*/ 2347968 w 2983310"/>
                <a:gd name="connsiteY32" fmla="*/ 1158028 h 2342432"/>
                <a:gd name="connsiteX33" fmla="*/ 2410718 w 2983310"/>
                <a:gd name="connsiteY33" fmla="*/ 1220778 h 2342432"/>
                <a:gd name="connsiteX34" fmla="*/ 2285218 w 2983310"/>
                <a:gd name="connsiteY34" fmla="*/ 1291371 h 2342432"/>
                <a:gd name="connsiteX35" fmla="*/ 1971469 w 2983310"/>
                <a:gd name="connsiteY35" fmla="*/ 1401184 h 2342432"/>
                <a:gd name="connsiteX36" fmla="*/ 1916563 w 2983310"/>
                <a:gd name="connsiteY36" fmla="*/ 1487465 h 2342432"/>
                <a:gd name="connsiteX37" fmla="*/ 1579283 w 2983310"/>
                <a:gd name="connsiteY37" fmla="*/ 1526683 h 2342432"/>
                <a:gd name="connsiteX38" fmla="*/ 1485158 w 2983310"/>
                <a:gd name="connsiteY38" fmla="*/ 1675714 h 2342432"/>
                <a:gd name="connsiteX39" fmla="*/ 1398877 w 2983310"/>
                <a:gd name="connsiteY39" fmla="*/ 1652183 h 2342432"/>
                <a:gd name="connsiteX40" fmla="*/ 1304752 w 2983310"/>
                <a:gd name="connsiteY40" fmla="*/ 1761996 h 2342432"/>
                <a:gd name="connsiteX41" fmla="*/ 1234159 w 2983310"/>
                <a:gd name="connsiteY41" fmla="*/ 1863964 h 2342432"/>
                <a:gd name="connsiteX42" fmla="*/ 1069440 w 2983310"/>
                <a:gd name="connsiteY42" fmla="*/ 1801214 h 2342432"/>
                <a:gd name="connsiteX43" fmla="*/ 1053753 w 2983310"/>
                <a:gd name="connsiteY43" fmla="*/ 1981620 h 2342432"/>
                <a:gd name="connsiteX44" fmla="*/ 896878 w 2983310"/>
                <a:gd name="connsiteY44" fmla="*/ 1903183 h 2342432"/>
                <a:gd name="connsiteX45" fmla="*/ 763535 w 2983310"/>
                <a:gd name="connsiteY45" fmla="*/ 1997308 h 2342432"/>
                <a:gd name="connsiteX46" fmla="*/ 606660 w 2983310"/>
                <a:gd name="connsiteY46" fmla="*/ 1989464 h 2342432"/>
                <a:gd name="connsiteX47" fmla="*/ 418411 w 2983310"/>
                <a:gd name="connsiteY47" fmla="*/ 2232620 h 2342432"/>
                <a:gd name="connsiteX48" fmla="*/ 418411 w 2983310"/>
                <a:gd name="connsiteY48" fmla="*/ 2342432 h 2342432"/>
                <a:gd name="connsiteX49" fmla="*/ 343508 w 2983310"/>
                <a:gd name="connsiteY49" fmla="*/ 2233824 h 2342432"/>
                <a:gd name="connsiteX50" fmla="*/ 304800 w 2983310"/>
                <a:gd name="connsiteY50" fmla="*/ 2078990 h 2342432"/>
                <a:gd name="connsiteX51" fmla="*/ 222250 w 2983310"/>
                <a:gd name="connsiteY51" fmla="*/ 2059940 h 2342432"/>
                <a:gd name="connsiteX52" fmla="*/ 107950 w 2983310"/>
                <a:gd name="connsiteY52" fmla="*/ 2034540 h 2342432"/>
                <a:gd name="connsiteX53" fmla="*/ 38100 w 2983310"/>
                <a:gd name="connsiteY53" fmla="*/ 1875790 h 2342432"/>
                <a:gd name="connsiteX54" fmla="*/ 95250 w 2983310"/>
                <a:gd name="connsiteY54" fmla="*/ 1805940 h 2342432"/>
                <a:gd name="connsiteX55" fmla="*/ 38100 w 2983310"/>
                <a:gd name="connsiteY55" fmla="*/ 1767840 h 2342432"/>
                <a:gd name="connsiteX56" fmla="*/ 0 w 2983310"/>
                <a:gd name="connsiteY56" fmla="*/ 1723390 h 2342432"/>
                <a:gd name="connsiteX57" fmla="*/ 88900 w 2983310"/>
                <a:gd name="connsiteY57" fmla="*/ 1596390 h 2342432"/>
                <a:gd name="connsiteX58" fmla="*/ 120650 w 2983310"/>
                <a:gd name="connsiteY58" fmla="*/ 1704340 h 2342432"/>
                <a:gd name="connsiteX59" fmla="*/ 234950 w 2983310"/>
                <a:gd name="connsiteY59" fmla="*/ 1697990 h 2342432"/>
                <a:gd name="connsiteX60" fmla="*/ 234950 w 2983310"/>
                <a:gd name="connsiteY60" fmla="*/ 1647190 h 2342432"/>
                <a:gd name="connsiteX61" fmla="*/ 266700 w 2983310"/>
                <a:gd name="connsiteY61" fmla="*/ 1583690 h 2342432"/>
                <a:gd name="connsiteX62" fmla="*/ 336550 w 2983310"/>
                <a:gd name="connsiteY62" fmla="*/ 1583690 h 2342432"/>
                <a:gd name="connsiteX63" fmla="*/ 381000 w 2983310"/>
                <a:gd name="connsiteY63" fmla="*/ 1539240 h 2342432"/>
                <a:gd name="connsiteX64" fmla="*/ 323850 w 2983310"/>
                <a:gd name="connsiteY64" fmla="*/ 1405890 h 2342432"/>
                <a:gd name="connsiteX65" fmla="*/ 342900 w 2983310"/>
                <a:gd name="connsiteY65" fmla="*/ 1329690 h 2342432"/>
                <a:gd name="connsiteX66" fmla="*/ 444500 w 2983310"/>
                <a:gd name="connsiteY66" fmla="*/ 1253490 h 2342432"/>
                <a:gd name="connsiteX67" fmla="*/ 501650 w 2983310"/>
                <a:gd name="connsiteY67" fmla="*/ 1272540 h 2342432"/>
                <a:gd name="connsiteX68" fmla="*/ 571500 w 2983310"/>
                <a:gd name="connsiteY68" fmla="*/ 1177290 h 2342432"/>
                <a:gd name="connsiteX69" fmla="*/ 742950 w 2983310"/>
                <a:gd name="connsiteY69" fmla="*/ 1170940 h 2342432"/>
                <a:gd name="connsiteX70" fmla="*/ 641350 w 2983310"/>
                <a:gd name="connsiteY70" fmla="*/ 1050290 h 2342432"/>
                <a:gd name="connsiteX71" fmla="*/ 539750 w 2983310"/>
                <a:gd name="connsiteY71" fmla="*/ 910590 h 2342432"/>
                <a:gd name="connsiteX72" fmla="*/ 367164 w 2983310"/>
                <a:gd name="connsiteY72" fmla="*/ 910590 h 2342432"/>
                <a:gd name="connsiteX73" fmla="*/ 278130 w 2983310"/>
                <a:gd name="connsiteY73" fmla="*/ 769620 h 2342432"/>
                <a:gd name="connsiteX74" fmla="*/ 262890 w 2983310"/>
                <a:gd name="connsiteY74" fmla="*/ 563880 h 2342432"/>
                <a:gd name="connsiteX75" fmla="*/ 278130 w 2983310"/>
                <a:gd name="connsiteY75" fmla="*/ 388620 h 2342432"/>
                <a:gd name="connsiteX76" fmla="*/ 247650 w 2983310"/>
                <a:gd name="connsiteY76" fmla="*/ 327660 h 2342432"/>
                <a:gd name="connsiteX77" fmla="*/ 293370 w 2983310"/>
                <a:gd name="connsiteY77" fmla="*/ 205740 h 2342432"/>
                <a:gd name="connsiteX78" fmla="*/ 582930 w 2983310"/>
                <a:gd name="connsiteY78" fmla="*/ 114300 h 2342432"/>
                <a:gd name="connsiteX79" fmla="*/ 720090 w 2983310"/>
                <a:gd name="connsiteY79" fmla="*/ 83820 h 2342432"/>
                <a:gd name="connsiteX80" fmla="*/ 750570 w 2983310"/>
                <a:gd name="connsiteY80" fmla="*/ 22860 h 2342432"/>
                <a:gd name="connsiteX81" fmla="*/ 910590 w 2983310"/>
                <a:gd name="connsiteY81" fmla="*/ 0 h 2342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2983310" h="2342432">
                  <a:moveTo>
                    <a:pt x="910590" y="0"/>
                  </a:moveTo>
                  <a:lnTo>
                    <a:pt x="979170" y="76200"/>
                  </a:lnTo>
                  <a:lnTo>
                    <a:pt x="1108710" y="53340"/>
                  </a:lnTo>
                  <a:lnTo>
                    <a:pt x="1120352" y="51012"/>
                  </a:lnTo>
                  <a:lnTo>
                    <a:pt x="1123950" y="97790"/>
                  </a:lnTo>
                  <a:lnTo>
                    <a:pt x="1168400" y="97790"/>
                  </a:lnTo>
                  <a:lnTo>
                    <a:pt x="1219200" y="199390"/>
                  </a:lnTo>
                  <a:lnTo>
                    <a:pt x="1200150" y="358140"/>
                  </a:lnTo>
                  <a:lnTo>
                    <a:pt x="1257300" y="415290"/>
                  </a:lnTo>
                  <a:lnTo>
                    <a:pt x="1384300" y="351790"/>
                  </a:lnTo>
                  <a:lnTo>
                    <a:pt x="1435100" y="345440"/>
                  </a:lnTo>
                  <a:lnTo>
                    <a:pt x="1568450" y="447040"/>
                  </a:lnTo>
                  <a:lnTo>
                    <a:pt x="1962150" y="440690"/>
                  </a:lnTo>
                  <a:lnTo>
                    <a:pt x="2108200" y="180340"/>
                  </a:lnTo>
                  <a:lnTo>
                    <a:pt x="2286000" y="237490"/>
                  </a:lnTo>
                  <a:lnTo>
                    <a:pt x="2527300" y="142240"/>
                  </a:lnTo>
                  <a:lnTo>
                    <a:pt x="2546350" y="180340"/>
                  </a:lnTo>
                  <a:lnTo>
                    <a:pt x="2711450" y="97790"/>
                  </a:lnTo>
                  <a:lnTo>
                    <a:pt x="2737266" y="110698"/>
                  </a:lnTo>
                  <a:lnTo>
                    <a:pt x="2747998" y="271685"/>
                  </a:lnTo>
                  <a:lnTo>
                    <a:pt x="2983310" y="303060"/>
                  </a:lnTo>
                  <a:lnTo>
                    <a:pt x="2951935" y="459935"/>
                  </a:lnTo>
                  <a:lnTo>
                    <a:pt x="2983310" y="663872"/>
                  </a:lnTo>
                  <a:lnTo>
                    <a:pt x="2951935" y="899184"/>
                  </a:lnTo>
                  <a:lnTo>
                    <a:pt x="2842123" y="1228621"/>
                  </a:lnTo>
                  <a:lnTo>
                    <a:pt x="2834882" y="1298612"/>
                  </a:lnTo>
                  <a:lnTo>
                    <a:pt x="2826435" y="1291371"/>
                  </a:lnTo>
                  <a:lnTo>
                    <a:pt x="2693092" y="1346277"/>
                  </a:lnTo>
                  <a:lnTo>
                    <a:pt x="2630342" y="1189403"/>
                  </a:lnTo>
                  <a:lnTo>
                    <a:pt x="2575436" y="1126653"/>
                  </a:lnTo>
                  <a:lnTo>
                    <a:pt x="2520530" y="938403"/>
                  </a:lnTo>
                  <a:lnTo>
                    <a:pt x="2308750" y="1032528"/>
                  </a:lnTo>
                  <a:lnTo>
                    <a:pt x="2347968" y="1158028"/>
                  </a:lnTo>
                  <a:lnTo>
                    <a:pt x="2410718" y="1220778"/>
                  </a:lnTo>
                  <a:lnTo>
                    <a:pt x="2285218" y="1291371"/>
                  </a:lnTo>
                  <a:lnTo>
                    <a:pt x="1971469" y="1401184"/>
                  </a:lnTo>
                  <a:lnTo>
                    <a:pt x="1916563" y="1487465"/>
                  </a:lnTo>
                  <a:lnTo>
                    <a:pt x="1579283" y="1526683"/>
                  </a:lnTo>
                  <a:lnTo>
                    <a:pt x="1485158" y="1675714"/>
                  </a:lnTo>
                  <a:lnTo>
                    <a:pt x="1398877" y="1652183"/>
                  </a:lnTo>
                  <a:lnTo>
                    <a:pt x="1304752" y="1761996"/>
                  </a:lnTo>
                  <a:lnTo>
                    <a:pt x="1234159" y="1863964"/>
                  </a:lnTo>
                  <a:lnTo>
                    <a:pt x="1069440" y="1801214"/>
                  </a:lnTo>
                  <a:lnTo>
                    <a:pt x="1053753" y="1981620"/>
                  </a:lnTo>
                  <a:lnTo>
                    <a:pt x="896878" y="1903183"/>
                  </a:lnTo>
                  <a:lnTo>
                    <a:pt x="763535" y="1997308"/>
                  </a:lnTo>
                  <a:lnTo>
                    <a:pt x="606660" y="1989464"/>
                  </a:lnTo>
                  <a:lnTo>
                    <a:pt x="418411" y="2232620"/>
                  </a:lnTo>
                  <a:lnTo>
                    <a:pt x="418411" y="2342432"/>
                  </a:lnTo>
                  <a:lnTo>
                    <a:pt x="343508" y="2233824"/>
                  </a:lnTo>
                  <a:lnTo>
                    <a:pt x="304800" y="2078990"/>
                  </a:lnTo>
                  <a:lnTo>
                    <a:pt x="222250" y="2059940"/>
                  </a:lnTo>
                  <a:lnTo>
                    <a:pt x="107950" y="2034540"/>
                  </a:lnTo>
                  <a:lnTo>
                    <a:pt x="38100" y="1875790"/>
                  </a:lnTo>
                  <a:lnTo>
                    <a:pt x="95250" y="1805940"/>
                  </a:lnTo>
                  <a:lnTo>
                    <a:pt x="38100" y="1767840"/>
                  </a:lnTo>
                  <a:lnTo>
                    <a:pt x="0" y="1723390"/>
                  </a:lnTo>
                  <a:lnTo>
                    <a:pt x="88900" y="1596390"/>
                  </a:lnTo>
                  <a:lnTo>
                    <a:pt x="120650" y="1704340"/>
                  </a:lnTo>
                  <a:lnTo>
                    <a:pt x="234950" y="1697990"/>
                  </a:lnTo>
                  <a:lnTo>
                    <a:pt x="234950" y="1647190"/>
                  </a:lnTo>
                  <a:lnTo>
                    <a:pt x="266700" y="1583690"/>
                  </a:lnTo>
                  <a:lnTo>
                    <a:pt x="336550" y="1583690"/>
                  </a:lnTo>
                  <a:lnTo>
                    <a:pt x="381000" y="1539240"/>
                  </a:lnTo>
                  <a:lnTo>
                    <a:pt x="323850" y="1405890"/>
                  </a:lnTo>
                  <a:lnTo>
                    <a:pt x="342900" y="1329690"/>
                  </a:lnTo>
                  <a:lnTo>
                    <a:pt x="444500" y="1253490"/>
                  </a:lnTo>
                  <a:lnTo>
                    <a:pt x="501650" y="1272540"/>
                  </a:lnTo>
                  <a:lnTo>
                    <a:pt x="571500" y="1177290"/>
                  </a:lnTo>
                  <a:lnTo>
                    <a:pt x="742950" y="1170940"/>
                  </a:lnTo>
                  <a:lnTo>
                    <a:pt x="641350" y="1050290"/>
                  </a:lnTo>
                  <a:lnTo>
                    <a:pt x="539750" y="910590"/>
                  </a:lnTo>
                  <a:lnTo>
                    <a:pt x="367164" y="910590"/>
                  </a:lnTo>
                  <a:lnTo>
                    <a:pt x="278130" y="769620"/>
                  </a:lnTo>
                  <a:lnTo>
                    <a:pt x="262890" y="563880"/>
                  </a:lnTo>
                  <a:lnTo>
                    <a:pt x="278130" y="388620"/>
                  </a:lnTo>
                  <a:lnTo>
                    <a:pt x="247650" y="327660"/>
                  </a:lnTo>
                  <a:lnTo>
                    <a:pt x="293370" y="205740"/>
                  </a:lnTo>
                  <a:lnTo>
                    <a:pt x="582930" y="114300"/>
                  </a:lnTo>
                  <a:lnTo>
                    <a:pt x="720090" y="83820"/>
                  </a:lnTo>
                  <a:lnTo>
                    <a:pt x="750570" y="22860"/>
                  </a:lnTo>
                  <a:lnTo>
                    <a:pt x="910590" y="0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_Map_Thüringen">
              <a:extLst>
                <a:ext uri="{FF2B5EF4-FFF2-40B4-BE49-F238E27FC236}">
                  <a16:creationId xmlns:a16="http://schemas.microsoft.com/office/drawing/2014/main" id="{3AAA1F92-19BE-4584-911F-F7AABD8BD83C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1780217" y="3727178"/>
              <a:ext cx="961262" cy="779147"/>
            </a:xfrm>
            <a:custGeom>
              <a:avLst/>
              <a:gdLst>
                <a:gd name="connsiteX0" fmla="*/ 2201089 w 2679700"/>
                <a:gd name="connsiteY0" fmla="*/ 596104 h 2286625"/>
                <a:gd name="connsiteX1" fmla="*/ 2199640 w 2679700"/>
                <a:gd name="connsiteY1" fmla="*/ 612766 h 2286625"/>
                <a:gd name="connsiteX2" fmla="*/ 2199640 w 2679700"/>
                <a:gd name="connsiteY2" fmla="*/ 612765 h 2286625"/>
                <a:gd name="connsiteX3" fmla="*/ 772518 w 2679700"/>
                <a:gd name="connsiteY3" fmla="*/ 114604 h 2286625"/>
                <a:gd name="connsiteX4" fmla="*/ 770406 w 2679700"/>
                <a:gd name="connsiteY4" fmla="*/ 117868 h 2286625"/>
                <a:gd name="connsiteX5" fmla="*/ 1018540 w 2679700"/>
                <a:gd name="connsiteY5" fmla="*/ 147945 h 2286625"/>
                <a:gd name="connsiteX6" fmla="*/ 1003300 w 2679700"/>
                <a:gd name="connsiteY6" fmla="*/ 247005 h 2286625"/>
                <a:gd name="connsiteX7" fmla="*/ 1079500 w 2679700"/>
                <a:gd name="connsiteY7" fmla="*/ 460365 h 2286625"/>
                <a:gd name="connsiteX8" fmla="*/ 1422400 w 2679700"/>
                <a:gd name="connsiteY8" fmla="*/ 490845 h 2286625"/>
                <a:gd name="connsiteX9" fmla="*/ 1529080 w 2679700"/>
                <a:gd name="connsiteY9" fmla="*/ 628005 h 2286625"/>
                <a:gd name="connsiteX10" fmla="*/ 1460500 w 2679700"/>
                <a:gd name="connsiteY10" fmla="*/ 727065 h 2286625"/>
                <a:gd name="connsiteX11" fmla="*/ 1445260 w 2679700"/>
                <a:gd name="connsiteY11" fmla="*/ 788025 h 2286625"/>
                <a:gd name="connsiteX12" fmla="*/ 1506220 w 2679700"/>
                <a:gd name="connsiteY12" fmla="*/ 788025 h 2286625"/>
                <a:gd name="connsiteX13" fmla="*/ 1559560 w 2679700"/>
                <a:gd name="connsiteY13" fmla="*/ 955665 h 2286625"/>
                <a:gd name="connsiteX14" fmla="*/ 1628140 w 2679700"/>
                <a:gd name="connsiteY14" fmla="*/ 902325 h 2286625"/>
                <a:gd name="connsiteX15" fmla="*/ 1788160 w 2679700"/>
                <a:gd name="connsiteY15" fmla="*/ 1009005 h 2286625"/>
                <a:gd name="connsiteX16" fmla="*/ 1948180 w 2679700"/>
                <a:gd name="connsiteY16" fmla="*/ 1024245 h 2286625"/>
                <a:gd name="connsiteX17" fmla="*/ 2054860 w 2679700"/>
                <a:gd name="connsiteY17" fmla="*/ 1130925 h 2286625"/>
                <a:gd name="connsiteX18" fmla="*/ 2237740 w 2679700"/>
                <a:gd name="connsiteY18" fmla="*/ 1169025 h 2286625"/>
                <a:gd name="connsiteX19" fmla="*/ 2329180 w 2679700"/>
                <a:gd name="connsiteY19" fmla="*/ 1062345 h 2286625"/>
                <a:gd name="connsiteX20" fmla="*/ 2245360 w 2679700"/>
                <a:gd name="connsiteY20" fmla="*/ 993765 h 2286625"/>
                <a:gd name="connsiteX21" fmla="*/ 2306320 w 2679700"/>
                <a:gd name="connsiteY21" fmla="*/ 963285 h 2286625"/>
                <a:gd name="connsiteX22" fmla="*/ 2303915 w 2679700"/>
                <a:gd name="connsiteY22" fmla="*/ 959477 h 2286625"/>
                <a:gd name="connsiteX23" fmla="*/ 2476500 w 2679700"/>
                <a:gd name="connsiteY23" fmla="*/ 959477 h 2286625"/>
                <a:gd name="connsiteX24" fmla="*/ 2578100 w 2679700"/>
                <a:gd name="connsiteY24" fmla="*/ 1099177 h 2286625"/>
                <a:gd name="connsiteX25" fmla="*/ 2679700 w 2679700"/>
                <a:gd name="connsiteY25" fmla="*/ 1219827 h 2286625"/>
                <a:gd name="connsiteX26" fmla="*/ 2508250 w 2679700"/>
                <a:gd name="connsiteY26" fmla="*/ 1226177 h 2286625"/>
                <a:gd name="connsiteX27" fmla="*/ 2438400 w 2679700"/>
                <a:gd name="connsiteY27" fmla="*/ 1321427 h 2286625"/>
                <a:gd name="connsiteX28" fmla="*/ 2381250 w 2679700"/>
                <a:gd name="connsiteY28" fmla="*/ 1302377 h 2286625"/>
                <a:gd name="connsiteX29" fmla="*/ 2279650 w 2679700"/>
                <a:gd name="connsiteY29" fmla="*/ 1378577 h 2286625"/>
                <a:gd name="connsiteX30" fmla="*/ 2260600 w 2679700"/>
                <a:gd name="connsiteY30" fmla="*/ 1454777 h 2286625"/>
                <a:gd name="connsiteX31" fmla="*/ 2317750 w 2679700"/>
                <a:gd name="connsiteY31" fmla="*/ 1588127 h 2286625"/>
                <a:gd name="connsiteX32" fmla="*/ 2273300 w 2679700"/>
                <a:gd name="connsiteY32" fmla="*/ 1632577 h 2286625"/>
                <a:gd name="connsiteX33" fmla="*/ 2203450 w 2679700"/>
                <a:gd name="connsiteY33" fmla="*/ 1632577 h 2286625"/>
                <a:gd name="connsiteX34" fmla="*/ 2171700 w 2679700"/>
                <a:gd name="connsiteY34" fmla="*/ 1696077 h 2286625"/>
                <a:gd name="connsiteX35" fmla="*/ 2171700 w 2679700"/>
                <a:gd name="connsiteY35" fmla="*/ 1746877 h 2286625"/>
                <a:gd name="connsiteX36" fmla="*/ 2057400 w 2679700"/>
                <a:gd name="connsiteY36" fmla="*/ 1753227 h 2286625"/>
                <a:gd name="connsiteX37" fmla="*/ 2025650 w 2679700"/>
                <a:gd name="connsiteY37" fmla="*/ 1645277 h 2286625"/>
                <a:gd name="connsiteX38" fmla="*/ 1936750 w 2679700"/>
                <a:gd name="connsiteY38" fmla="*/ 1772277 h 2286625"/>
                <a:gd name="connsiteX39" fmla="*/ 1974850 w 2679700"/>
                <a:gd name="connsiteY39" fmla="*/ 1816727 h 2286625"/>
                <a:gd name="connsiteX40" fmla="*/ 2032000 w 2679700"/>
                <a:gd name="connsiteY40" fmla="*/ 1854827 h 2286625"/>
                <a:gd name="connsiteX41" fmla="*/ 1974850 w 2679700"/>
                <a:gd name="connsiteY41" fmla="*/ 1924677 h 2286625"/>
                <a:gd name="connsiteX42" fmla="*/ 1984153 w 2679700"/>
                <a:gd name="connsiteY42" fmla="*/ 1945821 h 2286625"/>
                <a:gd name="connsiteX43" fmla="*/ 1962150 w 2679700"/>
                <a:gd name="connsiteY43" fmla="*/ 1943725 h 2286625"/>
                <a:gd name="connsiteX44" fmla="*/ 1873250 w 2679700"/>
                <a:gd name="connsiteY44" fmla="*/ 1994525 h 2286625"/>
                <a:gd name="connsiteX45" fmla="*/ 1828800 w 2679700"/>
                <a:gd name="connsiteY45" fmla="*/ 1956425 h 2286625"/>
                <a:gd name="connsiteX46" fmla="*/ 1701800 w 2679700"/>
                <a:gd name="connsiteY46" fmla="*/ 1981825 h 2286625"/>
                <a:gd name="connsiteX47" fmla="*/ 1568450 w 2679700"/>
                <a:gd name="connsiteY47" fmla="*/ 2032625 h 2286625"/>
                <a:gd name="connsiteX48" fmla="*/ 1562100 w 2679700"/>
                <a:gd name="connsiteY48" fmla="*/ 1969125 h 2286625"/>
                <a:gd name="connsiteX49" fmla="*/ 1492250 w 2679700"/>
                <a:gd name="connsiteY49" fmla="*/ 1905625 h 2286625"/>
                <a:gd name="connsiteX50" fmla="*/ 1466850 w 2679700"/>
                <a:gd name="connsiteY50" fmla="*/ 1810375 h 2286625"/>
                <a:gd name="connsiteX51" fmla="*/ 1403350 w 2679700"/>
                <a:gd name="connsiteY51" fmla="*/ 1816725 h 2286625"/>
                <a:gd name="connsiteX52" fmla="*/ 1333500 w 2679700"/>
                <a:gd name="connsiteY52" fmla="*/ 1899275 h 2286625"/>
                <a:gd name="connsiteX53" fmla="*/ 1358900 w 2679700"/>
                <a:gd name="connsiteY53" fmla="*/ 2038975 h 2286625"/>
                <a:gd name="connsiteX54" fmla="*/ 1320800 w 2679700"/>
                <a:gd name="connsiteY54" fmla="*/ 2172325 h 2286625"/>
                <a:gd name="connsiteX55" fmla="*/ 1219200 w 2679700"/>
                <a:gd name="connsiteY55" fmla="*/ 2159625 h 2286625"/>
                <a:gd name="connsiteX56" fmla="*/ 1193800 w 2679700"/>
                <a:gd name="connsiteY56" fmla="*/ 2058025 h 2286625"/>
                <a:gd name="connsiteX57" fmla="*/ 1168400 w 2679700"/>
                <a:gd name="connsiteY57" fmla="*/ 2058025 h 2286625"/>
                <a:gd name="connsiteX58" fmla="*/ 1060450 w 2679700"/>
                <a:gd name="connsiteY58" fmla="*/ 2064375 h 2286625"/>
                <a:gd name="connsiteX59" fmla="*/ 1066800 w 2679700"/>
                <a:gd name="connsiteY59" fmla="*/ 2000875 h 2286625"/>
                <a:gd name="connsiteX60" fmla="*/ 965200 w 2679700"/>
                <a:gd name="connsiteY60" fmla="*/ 1988175 h 2286625"/>
                <a:gd name="connsiteX61" fmla="*/ 812800 w 2679700"/>
                <a:gd name="connsiteY61" fmla="*/ 2045325 h 2286625"/>
                <a:gd name="connsiteX62" fmla="*/ 825500 w 2679700"/>
                <a:gd name="connsiteY62" fmla="*/ 2096125 h 2286625"/>
                <a:gd name="connsiteX63" fmla="*/ 876300 w 2679700"/>
                <a:gd name="connsiteY63" fmla="*/ 2140575 h 2286625"/>
                <a:gd name="connsiteX64" fmla="*/ 933450 w 2679700"/>
                <a:gd name="connsiteY64" fmla="*/ 2172325 h 2286625"/>
                <a:gd name="connsiteX65" fmla="*/ 927100 w 2679700"/>
                <a:gd name="connsiteY65" fmla="*/ 2223125 h 2286625"/>
                <a:gd name="connsiteX66" fmla="*/ 825500 w 2679700"/>
                <a:gd name="connsiteY66" fmla="*/ 2216775 h 2286625"/>
                <a:gd name="connsiteX67" fmla="*/ 800100 w 2679700"/>
                <a:gd name="connsiteY67" fmla="*/ 2286625 h 2286625"/>
                <a:gd name="connsiteX68" fmla="*/ 717550 w 2679700"/>
                <a:gd name="connsiteY68" fmla="*/ 2242175 h 2286625"/>
                <a:gd name="connsiteX69" fmla="*/ 666750 w 2679700"/>
                <a:gd name="connsiteY69" fmla="*/ 2077075 h 2286625"/>
                <a:gd name="connsiteX70" fmla="*/ 558800 w 2679700"/>
                <a:gd name="connsiteY70" fmla="*/ 1969125 h 2286625"/>
                <a:gd name="connsiteX71" fmla="*/ 508000 w 2679700"/>
                <a:gd name="connsiteY71" fmla="*/ 1988175 h 2286625"/>
                <a:gd name="connsiteX72" fmla="*/ 450850 w 2679700"/>
                <a:gd name="connsiteY72" fmla="*/ 1867525 h 2286625"/>
                <a:gd name="connsiteX73" fmla="*/ 336550 w 2679700"/>
                <a:gd name="connsiteY73" fmla="*/ 1791325 h 2286625"/>
                <a:gd name="connsiteX74" fmla="*/ 247650 w 2679700"/>
                <a:gd name="connsiteY74" fmla="*/ 1753225 h 2286625"/>
                <a:gd name="connsiteX75" fmla="*/ 165100 w 2679700"/>
                <a:gd name="connsiteY75" fmla="*/ 1848475 h 2286625"/>
                <a:gd name="connsiteX76" fmla="*/ 171450 w 2679700"/>
                <a:gd name="connsiteY76" fmla="*/ 1664325 h 2286625"/>
                <a:gd name="connsiteX77" fmla="*/ 209550 w 2679700"/>
                <a:gd name="connsiteY77" fmla="*/ 1626225 h 2286625"/>
                <a:gd name="connsiteX78" fmla="*/ 171450 w 2679700"/>
                <a:gd name="connsiteY78" fmla="*/ 1575425 h 2286625"/>
                <a:gd name="connsiteX79" fmla="*/ 95250 w 2679700"/>
                <a:gd name="connsiteY79" fmla="*/ 1581775 h 2286625"/>
                <a:gd name="connsiteX80" fmla="*/ 107950 w 2679700"/>
                <a:gd name="connsiteY80" fmla="*/ 1632575 h 2286625"/>
                <a:gd name="connsiteX81" fmla="*/ 57150 w 2679700"/>
                <a:gd name="connsiteY81" fmla="*/ 1645275 h 2286625"/>
                <a:gd name="connsiteX82" fmla="*/ 0 w 2679700"/>
                <a:gd name="connsiteY82" fmla="*/ 1588125 h 2286625"/>
                <a:gd name="connsiteX83" fmla="*/ 82550 w 2679700"/>
                <a:gd name="connsiteY83" fmla="*/ 1340475 h 2286625"/>
                <a:gd name="connsiteX84" fmla="*/ 165100 w 2679700"/>
                <a:gd name="connsiteY84" fmla="*/ 1327775 h 2286625"/>
                <a:gd name="connsiteX85" fmla="*/ 171450 w 2679700"/>
                <a:gd name="connsiteY85" fmla="*/ 1238875 h 2286625"/>
                <a:gd name="connsiteX86" fmla="*/ 127000 w 2679700"/>
                <a:gd name="connsiteY86" fmla="*/ 1226175 h 2286625"/>
                <a:gd name="connsiteX87" fmla="*/ 88900 w 2679700"/>
                <a:gd name="connsiteY87" fmla="*/ 1226175 h 2286625"/>
                <a:gd name="connsiteX88" fmla="*/ 88900 w 2679700"/>
                <a:gd name="connsiteY88" fmla="*/ 1169025 h 2286625"/>
                <a:gd name="connsiteX89" fmla="*/ 171450 w 2679700"/>
                <a:gd name="connsiteY89" fmla="*/ 1169025 h 2286625"/>
                <a:gd name="connsiteX90" fmla="*/ 139700 w 2679700"/>
                <a:gd name="connsiteY90" fmla="*/ 1073775 h 2286625"/>
                <a:gd name="connsiteX91" fmla="*/ 228600 w 2679700"/>
                <a:gd name="connsiteY91" fmla="*/ 1067425 h 2286625"/>
                <a:gd name="connsiteX92" fmla="*/ 304800 w 2679700"/>
                <a:gd name="connsiteY92" fmla="*/ 1086475 h 2286625"/>
                <a:gd name="connsiteX93" fmla="*/ 342900 w 2679700"/>
                <a:gd name="connsiteY93" fmla="*/ 1048375 h 2286625"/>
                <a:gd name="connsiteX94" fmla="*/ 260350 w 2679700"/>
                <a:gd name="connsiteY94" fmla="*/ 972175 h 2286625"/>
                <a:gd name="connsiteX95" fmla="*/ 285750 w 2679700"/>
                <a:gd name="connsiteY95" fmla="*/ 921375 h 2286625"/>
                <a:gd name="connsiteX96" fmla="*/ 234950 w 2679700"/>
                <a:gd name="connsiteY96" fmla="*/ 864225 h 2286625"/>
                <a:gd name="connsiteX97" fmla="*/ 317500 w 2679700"/>
                <a:gd name="connsiteY97" fmla="*/ 889625 h 2286625"/>
                <a:gd name="connsiteX98" fmla="*/ 342900 w 2679700"/>
                <a:gd name="connsiteY98" fmla="*/ 807075 h 2286625"/>
                <a:gd name="connsiteX99" fmla="*/ 209550 w 2679700"/>
                <a:gd name="connsiteY99" fmla="*/ 762625 h 2286625"/>
                <a:gd name="connsiteX100" fmla="*/ 184150 w 2679700"/>
                <a:gd name="connsiteY100" fmla="*/ 673725 h 2286625"/>
                <a:gd name="connsiteX101" fmla="*/ 88900 w 2679700"/>
                <a:gd name="connsiteY101" fmla="*/ 641975 h 2286625"/>
                <a:gd name="connsiteX102" fmla="*/ 63500 w 2679700"/>
                <a:gd name="connsiteY102" fmla="*/ 508625 h 2286625"/>
                <a:gd name="connsiteX103" fmla="*/ 58425 w 2679700"/>
                <a:gd name="connsiteY103" fmla="*/ 499256 h 2286625"/>
                <a:gd name="connsiteX104" fmla="*/ 359768 w 2679700"/>
                <a:gd name="connsiteY104" fmla="*/ 330504 h 2286625"/>
                <a:gd name="connsiteX105" fmla="*/ 455018 w 2679700"/>
                <a:gd name="connsiteY105" fmla="*/ 184454 h 2286625"/>
                <a:gd name="connsiteX106" fmla="*/ 543918 w 2679700"/>
                <a:gd name="connsiteY106" fmla="*/ 184454 h 2286625"/>
                <a:gd name="connsiteX107" fmla="*/ 569318 w 2679700"/>
                <a:gd name="connsiteY107" fmla="*/ 228904 h 2286625"/>
                <a:gd name="connsiteX108" fmla="*/ 702668 w 2679700"/>
                <a:gd name="connsiteY108" fmla="*/ 222554 h 2286625"/>
                <a:gd name="connsiteX109" fmla="*/ 721958 w 2679700"/>
                <a:gd name="connsiteY109" fmla="*/ 0 h 2286625"/>
                <a:gd name="connsiteX110" fmla="*/ 721958 w 2679700"/>
                <a:gd name="connsiteY110" fmla="*/ 0 h 2286625"/>
                <a:gd name="connsiteX111" fmla="*/ 772518 w 2679700"/>
                <a:gd name="connsiteY111" fmla="*/ 114604 h 2286625"/>
                <a:gd name="connsiteX0" fmla="*/ 2199640 w 2679700"/>
                <a:gd name="connsiteY0" fmla="*/ 612765 h 2286625"/>
                <a:gd name="connsiteX1" fmla="*/ 2199640 w 2679700"/>
                <a:gd name="connsiteY1" fmla="*/ 612766 h 2286625"/>
                <a:gd name="connsiteX2" fmla="*/ 2199640 w 2679700"/>
                <a:gd name="connsiteY2" fmla="*/ 612765 h 2286625"/>
                <a:gd name="connsiteX3" fmla="*/ 772518 w 2679700"/>
                <a:gd name="connsiteY3" fmla="*/ 114604 h 2286625"/>
                <a:gd name="connsiteX4" fmla="*/ 770406 w 2679700"/>
                <a:gd name="connsiteY4" fmla="*/ 117868 h 2286625"/>
                <a:gd name="connsiteX5" fmla="*/ 1018540 w 2679700"/>
                <a:gd name="connsiteY5" fmla="*/ 147945 h 2286625"/>
                <a:gd name="connsiteX6" fmla="*/ 1003300 w 2679700"/>
                <a:gd name="connsiteY6" fmla="*/ 247005 h 2286625"/>
                <a:gd name="connsiteX7" fmla="*/ 1079500 w 2679700"/>
                <a:gd name="connsiteY7" fmla="*/ 460365 h 2286625"/>
                <a:gd name="connsiteX8" fmla="*/ 1422400 w 2679700"/>
                <a:gd name="connsiteY8" fmla="*/ 490845 h 2286625"/>
                <a:gd name="connsiteX9" fmla="*/ 1529080 w 2679700"/>
                <a:gd name="connsiteY9" fmla="*/ 628005 h 2286625"/>
                <a:gd name="connsiteX10" fmla="*/ 1460500 w 2679700"/>
                <a:gd name="connsiteY10" fmla="*/ 727065 h 2286625"/>
                <a:gd name="connsiteX11" fmla="*/ 1445260 w 2679700"/>
                <a:gd name="connsiteY11" fmla="*/ 788025 h 2286625"/>
                <a:gd name="connsiteX12" fmla="*/ 1506220 w 2679700"/>
                <a:gd name="connsiteY12" fmla="*/ 788025 h 2286625"/>
                <a:gd name="connsiteX13" fmla="*/ 1559560 w 2679700"/>
                <a:gd name="connsiteY13" fmla="*/ 955665 h 2286625"/>
                <a:gd name="connsiteX14" fmla="*/ 1628140 w 2679700"/>
                <a:gd name="connsiteY14" fmla="*/ 902325 h 2286625"/>
                <a:gd name="connsiteX15" fmla="*/ 1788160 w 2679700"/>
                <a:gd name="connsiteY15" fmla="*/ 1009005 h 2286625"/>
                <a:gd name="connsiteX16" fmla="*/ 1948180 w 2679700"/>
                <a:gd name="connsiteY16" fmla="*/ 1024245 h 2286625"/>
                <a:gd name="connsiteX17" fmla="*/ 2054860 w 2679700"/>
                <a:gd name="connsiteY17" fmla="*/ 1130925 h 2286625"/>
                <a:gd name="connsiteX18" fmla="*/ 2237740 w 2679700"/>
                <a:gd name="connsiteY18" fmla="*/ 1169025 h 2286625"/>
                <a:gd name="connsiteX19" fmla="*/ 2329180 w 2679700"/>
                <a:gd name="connsiteY19" fmla="*/ 1062345 h 2286625"/>
                <a:gd name="connsiteX20" fmla="*/ 2245360 w 2679700"/>
                <a:gd name="connsiteY20" fmla="*/ 993765 h 2286625"/>
                <a:gd name="connsiteX21" fmla="*/ 2306320 w 2679700"/>
                <a:gd name="connsiteY21" fmla="*/ 963285 h 2286625"/>
                <a:gd name="connsiteX22" fmla="*/ 2303915 w 2679700"/>
                <a:gd name="connsiteY22" fmla="*/ 959477 h 2286625"/>
                <a:gd name="connsiteX23" fmla="*/ 2476500 w 2679700"/>
                <a:gd name="connsiteY23" fmla="*/ 959477 h 2286625"/>
                <a:gd name="connsiteX24" fmla="*/ 2578100 w 2679700"/>
                <a:gd name="connsiteY24" fmla="*/ 1099177 h 2286625"/>
                <a:gd name="connsiteX25" fmla="*/ 2679700 w 2679700"/>
                <a:gd name="connsiteY25" fmla="*/ 1219827 h 2286625"/>
                <a:gd name="connsiteX26" fmla="*/ 2508250 w 2679700"/>
                <a:gd name="connsiteY26" fmla="*/ 1226177 h 2286625"/>
                <a:gd name="connsiteX27" fmla="*/ 2438400 w 2679700"/>
                <a:gd name="connsiteY27" fmla="*/ 1321427 h 2286625"/>
                <a:gd name="connsiteX28" fmla="*/ 2381250 w 2679700"/>
                <a:gd name="connsiteY28" fmla="*/ 1302377 h 2286625"/>
                <a:gd name="connsiteX29" fmla="*/ 2279650 w 2679700"/>
                <a:gd name="connsiteY29" fmla="*/ 1378577 h 2286625"/>
                <a:gd name="connsiteX30" fmla="*/ 2260600 w 2679700"/>
                <a:gd name="connsiteY30" fmla="*/ 1454777 h 2286625"/>
                <a:gd name="connsiteX31" fmla="*/ 2317750 w 2679700"/>
                <a:gd name="connsiteY31" fmla="*/ 1588127 h 2286625"/>
                <a:gd name="connsiteX32" fmla="*/ 2273300 w 2679700"/>
                <a:gd name="connsiteY32" fmla="*/ 1632577 h 2286625"/>
                <a:gd name="connsiteX33" fmla="*/ 2203450 w 2679700"/>
                <a:gd name="connsiteY33" fmla="*/ 1632577 h 2286625"/>
                <a:gd name="connsiteX34" fmla="*/ 2171700 w 2679700"/>
                <a:gd name="connsiteY34" fmla="*/ 1696077 h 2286625"/>
                <a:gd name="connsiteX35" fmla="*/ 2171700 w 2679700"/>
                <a:gd name="connsiteY35" fmla="*/ 1746877 h 2286625"/>
                <a:gd name="connsiteX36" fmla="*/ 2057400 w 2679700"/>
                <a:gd name="connsiteY36" fmla="*/ 1753227 h 2286625"/>
                <a:gd name="connsiteX37" fmla="*/ 2025650 w 2679700"/>
                <a:gd name="connsiteY37" fmla="*/ 1645277 h 2286625"/>
                <a:gd name="connsiteX38" fmla="*/ 1936750 w 2679700"/>
                <a:gd name="connsiteY38" fmla="*/ 1772277 h 2286625"/>
                <a:gd name="connsiteX39" fmla="*/ 1974850 w 2679700"/>
                <a:gd name="connsiteY39" fmla="*/ 1816727 h 2286625"/>
                <a:gd name="connsiteX40" fmla="*/ 2032000 w 2679700"/>
                <a:gd name="connsiteY40" fmla="*/ 1854827 h 2286625"/>
                <a:gd name="connsiteX41" fmla="*/ 1974850 w 2679700"/>
                <a:gd name="connsiteY41" fmla="*/ 1924677 h 2286625"/>
                <a:gd name="connsiteX42" fmla="*/ 1984153 w 2679700"/>
                <a:gd name="connsiteY42" fmla="*/ 1945821 h 2286625"/>
                <a:gd name="connsiteX43" fmla="*/ 1962150 w 2679700"/>
                <a:gd name="connsiteY43" fmla="*/ 1943725 h 2286625"/>
                <a:gd name="connsiteX44" fmla="*/ 1873250 w 2679700"/>
                <a:gd name="connsiteY44" fmla="*/ 1994525 h 2286625"/>
                <a:gd name="connsiteX45" fmla="*/ 1828800 w 2679700"/>
                <a:gd name="connsiteY45" fmla="*/ 1956425 h 2286625"/>
                <a:gd name="connsiteX46" fmla="*/ 1701800 w 2679700"/>
                <a:gd name="connsiteY46" fmla="*/ 1981825 h 2286625"/>
                <a:gd name="connsiteX47" fmla="*/ 1568450 w 2679700"/>
                <a:gd name="connsiteY47" fmla="*/ 2032625 h 2286625"/>
                <a:gd name="connsiteX48" fmla="*/ 1562100 w 2679700"/>
                <a:gd name="connsiteY48" fmla="*/ 1969125 h 2286625"/>
                <a:gd name="connsiteX49" fmla="*/ 1492250 w 2679700"/>
                <a:gd name="connsiteY49" fmla="*/ 1905625 h 2286625"/>
                <a:gd name="connsiteX50" fmla="*/ 1466850 w 2679700"/>
                <a:gd name="connsiteY50" fmla="*/ 1810375 h 2286625"/>
                <a:gd name="connsiteX51" fmla="*/ 1403350 w 2679700"/>
                <a:gd name="connsiteY51" fmla="*/ 1816725 h 2286625"/>
                <a:gd name="connsiteX52" fmla="*/ 1333500 w 2679700"/>
                <a:gd name="connsiteY52" fmla="*/ 1899275 h 2286625"/>
                <a:gd name="connsiteX53" fmla="*/ 1358900 w 2679700"/>
                <a:gd name="connsiteY53" fmla="*/ 2038975 h 2286625"/>
                <a:gd name="connsiteX54" fmla="*/ 1320800 w 2679700"/>
                <a:gd name="connsiteY54" fmla="*/ 2172325 h 2286625"/>
                <a:gd name="connsiteX55" fmla="*/ 1219200 w 2679700"/>
                <a:gd name="connsiteY55" fmla="*/ 2159625 h 2286625"/>
                <a:gd name="connsiteX56" fmla="*/ 1193800 w 2679700"/>
                <a:gd name="connsiteY56" fmla="*/ 2058025 h 2286625"/>
                <a:gd name="connsiteX57" fmla="*/ 1168400 w 2679700"/>
                <a:gd name="connsiteY57" fmla="*/ 2058025 h 2286625"/>
                <a:gd name="connsiteX58" fmla="*/ 1060450 w 2679700"/>
                <a:gd name="connsiteY58" fmla="*/ 2064375 h 2286625"/>
                <a:gd name="connsiteX59" fmla="*/ 1066800 w 2679700"/>
                <a:gd name="connsiteY59" fmla="*/ 2000875 h 2286625"/>
                <a:gd name="connsiteX60" fmla="*/ 965200 w 2679700"/>
                <a:gd name="connsiteY60" fmla="*/ 1988175 h 2286625"/>
                <a:gd name="connsiteX61" fmla="*/ 812800 w 2679700"/>
                <a:gd name="connsiteY61" fmla="*/ 2045325 h 2286625"/>
                <a:gd name="connsiteX62" fmla="*/ 825500 w 2679700"/>
                <a:gd name="connsiteY62" fmla="*/ 2096125 h 2286625"/>
                <a:gd name="connsiteX63" fmla="*/ 876300 w 2679700"/>
                <a:gd name="connsiteY63" fmla="*/ 2140575 h 2286625"/>
                <a:gd name="connsiteX64" fmla="*/ 933450 w 2679700"/>
                <a:gd name="connsiteY64" fmla="*/ 2172325 h 2286625"/>
                <a:gd name="connsiteX65" fmla="*/ 927100 w 2679700"/>
                <a:gd name="connsiteY65" fmla="*/ 2223125 h 2286625"/>
                <a:gd name="connsiteX66" fmla="*/ 825500 w 2679700"/>
                <a:gd name="connsiteY66" fmla="*/ 2216775 h 2286625"/>
                <a:gd name="connsiteX67" fmla="*/ 800100 w 2679700"/>
                <a:gd name="connsiteY67" fmla="*/ 2286625 h 2286625"/>
                <a:gd name="connsiteX68" fmla="*/ 717550 w 2679700"/>
                <a:gd name="connsiteY68" fmla="*/ 2242175 h 2286625"/>
                <a:gd name="connsiteX69" fmla="*/ 666750 w 2679700"/>
                <a:gd name="connsiteY69" fmla="*/ 2077075 h 2286625"/>
                <a:gd name="connsiteX70" fmla="*/ 558800 w 2679700"/>
                <a:gd name="connsiteY70" fmla="*/ 1969125 h 2286625"/>
                <a:gd name="connsiteX71" fmla="*/ 508000 w 2679700"/>
                <a:gd name="connsiteY71" fmla="*/ 1988175 h 2286625"/>
                <a:gd name="connsiteX72" fmla="*/ 450850 w 2679700"/>
                <a:gd name="connsiteY72" fmla="*/ 1867525 h 2286625"/>
                <a:gd name="connsiteX73" fmla="*/ 336550 w 2679700"/>
                <a:gd name="connsiteY73" fmla="*/ 1791325 h 2286625"/>
                <a:gd name="connsiteX74" fmla="*/ 247650 w 2679700"/>
                <a:gd name="connsiteY74" fmla="*/ 1753225 h 2286625"/>
                <a:gd name="connsiteX75" fmla="*/ 165100 w 2679700"/>
                <a:gd name="connsiteY75" fmla="*/ 1848475 h 2286625"/>
                <a:gd name="connsiteX76" fmla="*/ 171450 w 2679700"/>
                <a:gd name="connsiteY76" fmla="*/ 1664325 h 2286625"/>
                <a:gd name="connsiteX77" fmla="*/ 209550 w 2679700"/>
                <a:gd name="connsiteY77" fmla="*/ 1626225 h 2286625"/>
                <a:gd name="connsiteX78" fmla="*/ 171450 w 2679700"/>
                <a:gd name="connsiteY78" fmla="*/ 1575425 h 2286625"/>
                <a:gd name="connsiteX79" fmla="*/ 95250 w 2679700"/>
                <a:gd name="connsiteY79" fmla="*/ 1581775 h 2286625"/>
                <a:gd name="connsiteX80" fmla="*/ 107950 w 2679700"/>
                <a:gd name="connsiteY80" fmla="*/ 1632575 h 2286625"/>
                <a:gd name="connsiteX81" fmla="*/ 57150 w 2679700"/>
                <a:gd name="connsiteY81" fmla="*/ 1645275 h 2286625"/>
                <a:gd name="connsiteX82" fmla="*/ 0 w 2679700"/>
                <a:gd name="connsiteY82" fmla="*/ 1588125 h 2286625"/>
                <a:gd name="connsiteX83" fmla="*/ 82550 w 2679700"/>
                <a:gd name="connsiteY83" fmla="*/ 1340475 h 2286625"/>
                <a:gd name="connsiteX84" fmla="*/ 165100 w 2679700"/>
                <a:gd name="connsiteY84" fmla="*/ 1327775 h 2286625"/>
                <a:gd name="connsiteX85" fmla="*/ 171450 w 2679700"/>
                <a:gd name="connsiteY85" fmla="*/ 1238875 h 2286625"/>
                <a:gd name="connsiteX86" fmla="*/ 127000 w 2679700"/>
                <a:gd name="connsiteY86" fmla="*/ 1226175 h 2286625"/>
                <a:gd name="connsiteX87" fmla="*/ 88900 w 2679700"/>
                <a:gd name="connsiteY87" fmla="*/ 1226175 h 2286625"/>
                <a:gd name="connsiteX88" fmla="*/ 88900 w 2679700"/>
                <a:gd name="connsiteY88" fmla="*/ 1169025 h 2286625"/>
                <a:gd name="connsiteX89" fmla="*/ 171450 w 2679700"/>
                <a:gd name="connsiteY89" fmla="*/ 1169025 h 2286625"/>
                <a:gd name="connsiteX90" fmla="*/ 139700 w 2679700"/>
                <a:gd name="connsiteY90" fmla="*/ 1073775 h 2286625"/>
                <a:gd name="connsiteX91" fmla="*/ 228600 w 2679700"/>
                <a:gd name="connsiteY91" fmla="*/ 1067425 h 2286625"/>
                <a:gd name="connsiteX92" fmla="*/ 304800 w 2679700"/>
                <a:gd name="connsiteY92" fmla="*/ 1086475 h 2286625"/>
                <a:gd name="connsiteX93" fmla="*/ 342900 w 2679700"/>
                <a:gd name="connsiteY93" fmla="*/ 1048375 h 2286625"/>
                <a:gd name="connsiteX94" fmla="*/ 260350 w 2679700"/>
                <a:gd name="connsiteY94" fmla="*/ 972175 h 2286625"/>
                <a:gd name="connsiteX95" fmla="*/ 285750 w 2679700"/>
                <a:gd name="connsiteY95" fmla="*/ 921375 h 2286625"/>
                <a:gd name="connsiteX96" fmla="*/ 234950 w 2679700"/>
                <a:gd name="connsiteY96" fmla="*/ 864225 h 2286625"/>
                <a:gd name="connsiteX97" fmla="*/ 317500 w 2679700"/>
                <a:gd name="connsiteY97" fmla="*/ 889625 h 2286625"/>
                <a:gd name="connsiteX98" fmla="*/ 342900 w 2679700"/>
                <a:gd name="connsiteY98" fmla="*/ 807075 h 2286625"/>
                <a:gd name="connsiteX99" fmla="*/ 209550 w 2679700"/>
                <a:gd name="connsiteY99" fmla="*/ 762625 h 2286625"/>
                <a:gd name="connsiteX100" fmla="*/ 184150 w 2679700"/>
                <a:gd name="connsiteY100" fmla="*/ 673725 h 2286625"/>
                <a:gd name="connsiteX101" fmla="*/ 88900 w 2679700"/>
                <a:gd name="connsiteY101" fmla="*/ 641975 h 2286625"/>
                <a:gd name="connsiteX102" fmla="*/ 63500 w 2679700"/>
                <a:gd name="connsiteY102" fmla="*/ 508625 h 2286625"/>
                <a:gd name="connsiteX103" fmla="*/ 58425 w 2679700"/>
                <a:gd name="connsiteY103" fmla="*/ 499256 h 2286625"/>
                <a:gd name="connsiteX104" fmla="*/ 359768 w 2679700"/>
                <a:gd name="connsiteY104" fmla="*/ 330504 h 2286625"/>
                <a:gd name="connsiteX105" fmla="*/ 455018 w 2679700"/>
                <a:gd name="connsiteY105" fmla="*/ 184454 h 2286625"/>
                <a:gd name="connsiteX106" fmla="*/ 543918 w 2679700"/>
                <a:gd name="connsiteY106" fmla="*/ 184454 h 2286625"/>
                <a:gd name="connsiteX107" fmla="*/ 569318 w 2679700"/>
                <a:gd name="connsiteY107" fmla="*/ 228904 h 2286625"/>
                <a:gd name="connsiteX108" fmla="*/ 702668 w 2679700"/>
                <a:gd name="connsiteY108" fmla="*/ 222554 h 2286625"/>
                <a:gd name="connsiteX109" fmla="*/ 772518 w 2679700"/>
                <a:gd name="connsiteY109" fmla="*/ 114604 h 2286625"/>
                <a:gd name="connsiteX110" fmla="*/ 721958 w 2679700"/>
                <a:gd name="connsiteY110" fmla="*/ 0 h 2286625"/>
                <a:gd name="connsiteX111" fmla="*/ 721958 w 2679700"/>
                <a:gd name="connsiteY111" fmla="*/ 0 h 2286625"/>
                <a:gd name="connsiteX112" fmla="*/ 772518 w 2679700"/>
                <a:gd name="connsiteY112" fmla="*/ 114604 h 2286625"/>
                <a:gd name="connsiteX113" fmla="*/ 721958 w 2679700"/>
                <a:gd name="connsiteY113" fmla="*/ 0 h 2286625"/>
                <a:gd name="connsiteX0" fmla="*/ 772518 w 2679700"/>
                <a:gd name="connsiteY0" fmla="*/ 114604 h 2286625"/>
                <a:gd name="connsiteX1" fmla="*/ 770406 w 2679700"/>
                <a:gd name="connsiteY1" fmla="*/ 117868 h 2286625"/>
                <a:gd name="connsiteX2" fmla="*/ 1018540 w 2679700"/>
                <a:gd name="connsiteY2" fmla="*/ 147945 h 2286625"/>
                <a:gd name="connsiteX3" fmla="*/ 1003300 w 2679700"/>
                <a:gd name="connsiteY3" fmla="*/ 247005 h 2286625"/>
                <a:gd name="connsiteX4" fmla="*/ 1079500 w 2679700"/>
                <a:gd name="connsiteY4" fmla="*/ 460365 h 2286625"/>
                <a:gd name="connsiteX5" fmla="*/ 1422400 w 2679700"/>
                <a:gd name="connsiteY5" fmla="*/ 490845 h 2286625"/>
                <a:gd name="connsiteX6" fmla="*/ 1529080 w 2679700"/>
                <a:gd name="connsiteY6" fmla="*/ 628005 h 2286625"/>
                <a:gd name="connsiteX7" fmla="*/ 1460500 w 2679700"/>
                <a:gd name="connsiteY7" fmla="*/ 727065 h 2286625"/>
                <a:gd name="connsiteX8" fmla="*/ 1445260 w 2679700"/>
                <a:gd name="connsiteY8" fmla="*/ 788025 h 2286625"/>
                <a:gd name="connsiteX9" fmla="*/ 1506220 w 2679700"/>
                <a:gd name="connsiteY9" fmla="*/ 788025 h 2286625"/>
                <a:gd name="connsiteX10" fmla="*/ 1559560 w 2679700"/>
                <a:gd name="connsiteY10" fmla="*/ 955665 h 2286625"/>
                <a:gd name="connsiteX11" fmla="*/ 1628140 w 2679700"/>
                <a:gd name="connsiteY11" fmla="*/ 902325 h 2286625"/>
                <a:gd name="connsiteX12" fmla="*/ 1788160 w 2679700"/>
                <a:gd name="connsiteY12" fmla="*/ 1009005 h 2286625"/>
                <a:gd name="connsiteX13" fmla="*/ 1948180 w 2679700"/>
                <a:gd name="connsiteY13" fmla="*/ 1024245 h 2286625"/>
                <a:gd name="connsiteX14" fmla="*/ 2054860 w 2679700"/>
                <a:gd name="connsiteY14" fmla="*/ 1130925 h 2286625"/>
                <a:gd name="connsiteX15" fmla="*/ 2237740 w 2679700"/>
                <a:gd name="connsiteY15" fmla="*/ 1169025 h 2286625"/>
                <a:gd name="connsiteX16" fmla="*/ 2329180 w 2679700"/>
                <a:gd name="connsiteY16" fmla="*/ 1062345 h 2286625"/>
                <a:gd name="connsiteX17" fmla="*/ 2245360 w 2679700"/>
                <a:gd name="connsiteY17" fmla="*/ 993765 h 2286625"/>
                <a:gd name="connsiteX18" fmla="*/ 2306320 w 2679700"/>
                <a:gd name="connsiteY18" fmla="*/ 963285 h 2286625"/>
                <a:gd name="connsiteX19" fmla="*/ 2303915 w 2679700"/>
                <a:gd name="connsiteY19" fmla="*/ 959477 h 2286625"/>
                <a:gd name="connsiteX20" fmla="*/ 2476500 w 2679700"/>
                <a:gd name="connsiteY20" fmla="*/ 959477 h 2286625"/>
                <a:gd name="connsiteX21" fmla="*/ 2578100 w 2679700"/>
                <a:gd name="connsiteY21" fmla="*/ 1099177 h 2286625"/>
                <a:gd name="connsiteX22" fmla="*/ 2679700 w 2679700"/>
                <a:gd name="connsiteY22" fmla="*/ 1219827 h 2286625"/>
                <a:gd name="connsiteX23" fmla="*/ 2508250 w 2679700"/>
                <a:gd name="connsiteY23" fmla="*/ 1226177 h 2286625"/>
                <a:gd name="connsiteX24" fmla="*/ 2438400 w 2679700"/>
                <a:gd name="connsiteY24" fmla="*/ 1321427 h 2286625"/>
                <a:gd name="connsiteX25" fmla="*/ 2381250 w 2679700"/>
                <a:gd name="connsiteY25" fmla="*/ 1302377 h 2286625"/>
                <a:gd name="connsiteX26" fmla="*/ 2279650 w 2679700"/>
                <a:gd name="connsiteY26" fmla="*/ 1378577 h 2286625"/>
                <a:gd name="connsiteX27" fmla="*/ 2260600 w 2679700"/>
                <a:gd name="connsiteY27" fmla="*/ 1454777 h 2286625"/>
                <a:gd name="connsiteX28" fmla="*/ 2317750 w 2679700"/>
                <a:gd name="connsiteY28" fmla="*/ 1588127 h 2286625"/>
                <a:gd name="connsiteX29" fmla="*/ 2273300 w 2679700"/>
                <a:gd name="connsiteY29" fmla="*/ 1632577 h 2286625"/>
                <a:gd name="connsiteX30" fmla="*/ 2203450 w 2679700"/>
                <a:gd name="connsiteY30" fmla="*/ 1632577 h 2286625"/>
                <a:gd name="connsiteX31" fmla="*/ 2171700 w 2679700"/>
                <a:gd name="connsiteY31" fmla="*/ 1696077 h 2286625"/>
                <a:gd name="connsiteX32" fmla="*/ 2171700 w 2679700"/>
                <a:gd name="connsiteY32" fmla="*/ 1746877 h 2286625"/>
                <a:gd name="connsiteX33" fmla="*/ 2057400 w 2679700"/>
                <a:gd name="connsiteY33" fmla="*/ 1753227 h 2286625"/>
                <a:gd name="connsiteX34" fmla="*/ 2025650 w 2679700"/>
                <a:gd name="connsiteY34" fmla="*/ 1645277 h 2286625"/>
                <a:gd name="connsiteX35" fmla="*/ 1936750 w 2679700"/>
                <a:gd name="connsiteY35" fmla="*/ 1772277 h 2286625"/>
                <a:gd name="connsiteX36" fmla="*/ 1974850 w 2679700"/>
                <a:gd name="connsiteY36" fmla="*/ 1816727 h 2286625"/>
                <a:gd name="connsiteX37" fmla="*/ 2032000 w 2679700"/>
                <a:gd name="connsiteY37" fmla="*/ 1854827 h 2286625"/>
                <a:gd name="connsiteX38" fmla="*/ 1974850 w 2679700"/>
                <a:gd name="connsiteY38" fmla="*/ 1924677 h 2286625"/>
                <a:gd name="connsiteX39" fmla="*/ 1984153 w 2679700"/>
                <a:gd name="connsiteY39" fmla="*/ 1945821 h 2286625"/>
                <a:gd name="connsiteX40" fmla="*/ 1962150 w 2679700"/>
                <a:gd name="connsiteY40" fmla="*/ 1943725 h 2286625"/>
                <a:gd name="connsiteX41" fmla="*/ 1873250 w 2679700"/>
                <a:gd name="connsiteY41" fmla="*/ 1994525 h 2286625"/>
                <a:gd name="connsiteX42" fmla="*/ 1828800 w 2679700"/>
                <a:gd name="connsiteY42" fmla="*/ 1956425 h 2286625"/>
                <a:gd name="connsiteX43" fmla="*/ 1701800 w 2679700"/>
                <a:gd name="connsiteY43" fmla="*/ 1981825 h 2286625"/>
                <a:gd name="connsiteX44" fmla="*/ 1568450 w 2679700"/>
                <a:gd name="connsiteY44" fmla="*/ 2032625 h 2286625"/>
                <a:gd name="connsiteX45" fmla="*/ 1562100 w 2679700"/>
                <a:gd name="connsiteY45" fmla="*/ 1969125 h 2286625"/>
                <a:gd name="connsiteX46" fmla="*/ 1492250 w 2679700"/>
                <a:gd name="connsiteY46" fmla="*/ 1905625 h 2286625"/>
                <a:gd name="connsiteX47" fmla="*/ 1466850 w 2679700"/>
                <a:gd name="connsiteY47" fmla="*/ 1810375 h 2286625"/>
                <a:gd name="connsiteX48" fmla="*/ 1403350 w 2679700"/>
                <a:gd name="connsiteY48" fmla="*/ 1816725 h 2286625"/>
                <a:gd name="connsiteX49" fmla="*/ 1333500 w 2679700"/>
                <a:gd name="connsiteY49" fmla="*/ 1899275 h 2286625"/>
                <a:gd name="connsiteX50" fmla="*/ 1358900 w 2679700"/>
                <a:gd name="connsiteY50" fmla="*/ 2038975 h 2286625"/>
                <a:gd name="connsiteX51" fmla="*/ 1320800 w 2679700"/>
                <a:gd name="connsiteY51" fmla="*/ 2172325 h 2286625"/>
                <a:gd name="connsiteX52" fmla="*/ 1219200 w 2679700"/>
                <a:gd name="connsiteY52" fmla="*/ 2159625 h 2286625"/>
                <a:gd name="connsiteX53" fmla="*/ 1193800 w 2679700"/>
                <a:gd name="connsiteY53" fmla="*/ 2058025 h 2286625"/>
                <a:gd name="connsiteX54" fmla="*/ 1168400 w 2679700"/>
                <a:gd name="connsiteY54" fmla="*/ 2058025 h 2286625"/>
                <a:gd name="connsiteX55" fmla="*/ 1060450 w 2679700"/>
                <a:gd name="connsiteY55" fmla="*/ 2064375 h 2286625"/>
                <a:gd name="connsiteX56" fmla="*/ 1066800 w 2679700"/>
                <a:gd name="connsiteY56" fmla="*/ 2000875 h 2286625"/>
                <a:gd name="connsiteX57" fmla="*/ 965200 w 2679700"/>
                <a:gd name="connsiteY57" fmla="*/ 1988175 h 2286625"/>
                <a:gd name="connsiteX58" fmla="*/ 812800 w 2679700"/>
                <a:gd name="connsiteY58" fmla="*/ 2045325 h 2286625"/>
                <a:gd name="connsiteX59" fmla="*/ 825500 w 2679700"/>
                <a:gd name="connsiteY59" fmla="*/ 2096125 h 2286625"/>
                <a:gd name="connsiteX60" fmla="*/ 876300 w 2679700"/>
                <a:gd name="connsiteY60" fmla="*/ 2140575 h 2286625"/>
                <a:gd name="connsiteX61" fmla="*/ 933450 w 2679700"/>
                <a:gd name="connsiteY61" fmla="*/ 2172325 h 2286625"/>
                <a:gd name="connsiteX62" fmla="*/ 927100 w 2679700"/>
                <a:gd name="connsiteY62" fmla="*/ 2223125 h 2286625"/>
                <a:gd name="connsiteX63" fmla="*/ 825500 w 2679700"/>
                <a:gd name="connsiteY63" fmla="*/ 2216775 h 2286625"/>
                <a:gd name="connsiteX64" fmla="*/ 800100 w 2679700"/>
                <a:gd name="connsiteY64" fmla="*/ 2286625 h 2286625"/>
                <a:gd name="connsiteX65" fmla="*/ 717550 w 2679700"/>
                <a:gd name="connsiteY65" fmla="*/ 2242175 h 2286625"/>
                <a:gd name="connsiteX66" fmla="*/ 666750 w 2679700"/>
                <a:gd name="connsiteY66" fmla="*/ 2077075 h 2286625"/>
                <a:gd name="connsiteX67" fmla="*/ 558800 w 2679700"/>
                <a:gd name="connsiteY67" fmla="*/ 1969125 h 2286625"/>
                <a:gd name="connsiteX68" fmla="*/ 508000 w 2679700"/>
                <a:gd name="connsiteY68" fmla="*/ 1988175 h 2286625"/>
                <a:gd name="connsiteX69" fmla="*/ 450850 w 2679700"/>
                <a:gd name="connsiteY69" fmla="*/ 1867525 h 2286625"/>
                <a:gd name="connsiteX70" fmla="*/ 336550 w 2679700"/>
                <a:gd name="connsiteY70" fmla="*/ 1791325 h 2286625"/>
                <a:gd name="connsiteX71" fmla="*/ 247650 w 2679700"/>
                <a:gd name="connsiteY71" fmla="*/ 1753225 h 2286625"/>
                <a:gd name="connsiteX72" fmla="*/ 165100 w 2679700"/>
                <a:gd name="connsiteY72" fmla="*/ 1848475 h 2286625"/>
                <a:gd name="connsiteX73" fmla="*/ 171450 w 2679700"/>
                <a:gd name="connsiteY73" fmla="*/ 1664325 h 2286625"/>
                <a:gd name="connsiteX74" fmla="*/ 209550 w 2679700"/>
                <a:gd name="connsiteY74" fmla="*/ 1626225 h 2286625"/>
                <a:gd name="connsiteX75" fmla="*/ 171450 w 2679700"/>
                <a:gd name="connsiteY75" fmla="*/ 1575425 h 2286625"/>
                <a:gd name="connsiteX76" fmla="*/ 95250 w 2679700"/>
                <a:gd name="connsiteY76" fmla="*/ 1581775 h 2286625"/>
                <a:gd name="connsiteX77" fmla="*/ 107950 w 2679700"/>
                <a:gd name="connsiteY77" fmla="*/ 1632575 h 2286625"/>
                <a:gd name="connsiteX78" fmla="*/ 57150 w 2679700"/>
                <a:gd name="connsiteY78" fmla="*/ 1645275 h 2286625"/>
                <a:gd name="connsiteX79" fmla="*/ 0 w 2679700"/>
                <a:gd name="connsiteY79" fmla="*/ 1588125 h 2286625"/>
                <a:gd name="connsiteX80" fmla="*/ 82550 w 2679700"/>
                <a:gd name="connsiteY80" fmla="*/ 1340475 h 2286625"/>
                <a:gd name="connsiteX81" fmla="*/ 165100 w 2679700"/>
                <a:gd name="connsiteY81" fmla="*/ 1327775 h 2286625"/>
                <a:gd name="connsiteX82" fmla="*/ 171450 w 2679700"/>
                <a:gd name="connsiteY82" fmla="*/ 1238875 h 2286625"/>
                <a:gd name="connsiteX83" fmla="*/ 127000 w 2679700"/>
                <a:gd name="connsiteY83" fmla="*/ 1226175 h 2286625"/>
                <a:gd name="connsiteX84" fmla="*/ 88900 w 2679700"/>
                <a:gd name="connsiteY84" fmla="*/ 1226175 h 2286625"/>
                <a:gd name="connsiteX85" fmla="*/ 88900 w 2679700"/>
                <a:gd name="connsiteY85" fmla="*/ 1169025 h 2286625"/>
                <a:gd name="connsiteX86" fmla="*/ 171450 w 2679700"/>
                <a:gd name="connsiteY86" fmla="*/ 1169025 h 2286625"/>
                <a:gd name="connsiteX87" fmla="*/ 139700 w 2679700"/>
                <a:gd name="connsiteY87" fmla="*/ 1073775 h 2286625"/>
                <a:gd name="connsiteX88" fmla="*/ 228600 w 2679700"/>
                <a:gd name="connsiteY88" fmla="*/ 1067425 h 2286625"/>
                <a:gd name="connsiteX89" fmla="*/ 304800 w 2679700"/>
                <a:gd name="connsiteY89" fmla="*/ 1086475 h 2286625"/>
                <a:gd name="connsiteX90" fmla="*/ 342900 w 2679700"/>
                <a:gd name="connsiteY90" fmla="*/ 1048375 h 2286625"/>
                <a:gd name="connsiteX91" fmla="*/ 260350 w 2679700"/>
                <a:gd name="connsiteY91" fmla="*/ 972175 h 2286625"/>
                <a:gd name="connsiteX92" fmla="*/ 285750 w 2679700"/>
                <a:gd name="connsiteY92" fmla="*/ 921375 h 2286625"/>
                <a:gd name="connsiteX93" fmla="*/ 234950 w 2679700"/>
                <a:gd name="connsiteY93" fmla="*/ 864225 h 2286625"/>
                <a:gd name="connsiteX94" fmla="*/ 317500 w 2679700"/>
                <a:gd name="connsiteY94" fmla="*/ 889625 h 2286625"/>
                <a:gd name="connsiteX95" fmla="*/ 342900 w 2679700"/>
                <a:gd name="connsiteY95" fmla="*/ 807075 h 2286625"/>
                <a:gd name="connsiteX96" fmla="*/ 209550 w 2679700"/>
                <a:gd name="connsiteY96" fmla="*/ 762625 h 2286625"/>
                <a:gd name="connsiteX97" fmla="*/ 184150 w 2679700"/>
                <a:gd name="connsiteY97" fmla="*/ 673725 h 2286625"/>
                <a:gd name="connsiteX98" fmla="*/ 88900 w 2679700"/>
                <a:gd name="connsiteY98" fmla="*/ 641975 h 2286625"/>
                <a:gd name="connsiteX99" fmla="*/ 63500 w 2679700"/>
                <a:gd name="connsiteY99" fmla="*/ 508625 h 2286625"/>
                <a:gd name="connsiteX100" fmla="*/ 58425 w 2679700"/>
                <a:gd name="connsiteY100" fmla="*/ 499256 h 2286625"/>
                <a:gd name="connsiteX101" fmla="*/ 359768 w 2679700"/>
                <a:gd name="connsiteY101" fmla="*/ 330504 h 2286625"/>
                <a:gd name="connsiteX102" fmla="*/ 455018 w 2679700"/>
                <a:gd name="connsiteY102" fmla="*/ 184454 h 2286625"/>
                <a:gd name="connsiteX103" fmla="*/ 543918 w 2679700"/>
                <a:gd name="connsiteY103" fmla="*/ 184454 h 2286625"/>
                <a:gd name="connsiteX104" fmla="*/ 569318 w 2679700"/>
                <a:gd name="connsiteY104" fmla="*/ 228904 h 2286625"/>
                <a:gd name="connsiteX105" fmla="*/ 702668 w 2679700"/>
                <a:gd name="connsiteY105" fmla="*/ 222554 h 2286625"/>
                <a:gd name="connsiteX106" fmla="*/ 772518 w 2679700"/>
                <a:gd name="connsiteY106" fmla="*/ 114604 h 2286625"/>
                <a:gd name="connsiteX107" fmla="*/ 721958 w 2679700"/>
                <a:gd name="connsiteY107" fmla="*/ 0 h 2286625"/>
                <a:gd name="connsiteX108" fmla="*/ 721958 w 2679700"/>
                <a:gd name="connsiteY108" fmla="*/ 0 h 2286625"/>
                <a:gd name="connsiteX109" fmla="*/ 772518 w 2679700"/>
                <a:gd name="connsiteY109" fmla="*/ 114604 h 2286625"/>
                <a:gd name="connsiteX110" fmla="*/ 721958 w 2679700"/>
                <a:gd name="connsiteY110" fmla="*/ 0 h 2286625"/>
                <a:gd name="connsiteX0" fmla="*/ 772518 w 2679700"/>
                <a:gd name="connsiteY0" fmla="*/ 114604 h 2286625"/>
                <a:gd name="connsiteX1" fmla="*/ 770406 w 2679700"/>
                <a:gd name="connsiteY1" fmla="*/ 117868 h 2286625"/>
                <a:gd name="connsiteX2" fmla="*/ 1018540 w 2679700"/>
                <a:gd name="connsiteY2" fmla="*/ 147945 h 2286625"/>
                <a:gd name="connsiteX3" fmla="*/ 1003300 w 2679700"/>
                <a:gd name="connsiteY3" fmla="*/ 247005 h 2286625"/>
                <a:gd name="connsiteX4" fmla="*/ 1079500 w 2679700"/>
                <a:gd name="connsiteY4" fmla="*/ 460365 h 2286625"/>
                <a:gd name="connsiteX5" fmla="*/ 1422400 w 2679700"/>
                <a:gd name="connsiteY5" fmla="*/ 490845 h 2286625"/>
                <a:gd name="connsiteX6" fmla="*/ 1529080 w 2679700"/>
                <a:gd name="connsiteY6" fmla="*/ 628005 h 2286625"/>
                <a:gd name="connsiteX7" fmla="*/ 1460500 w 2679700"/>
                <a:gd name="connsiteY7" fmla="*/ 727065 h 2286625"/>
                <a:gd name="connsiteX8" fmla="*/ 1445260 w 2679700"/>
                <a:gd name="connsiteY8" fmla="*/ 788025 h 2286625"/>
                <a:gd name="connsiteX9" fmla="*/ 1506220 w 2679700"/>
                <a:gd name="connsiteY9" fmla="*/ 788025 h 2286625"/>
                <a:gd name="connsiteX10" fmla="*/ 1559560 w 2679700"/>
                <a:gd name="connsiteY10" fmla="*/ 955665 h 2286625"/>
                <a:gd name="connsiteX11" fmla="*/ 1628140 w 2679700"/>
                <a:gd name="connsiteY11" fmla="*/ 902325 h 2286625"/>
                <a:gd name="connsiteX12" fmla="*/ 1788160 w 2679700"/>
                <a:gd name="connsiteY12" fmla="*/ 1009005 h 2286625"/>
                <a:gd name="connsiteX13" fmla="*/ 1948180 w 2679700"/>
                <a:gd name="connsiteY13" fmla="*/ 1024245 h 2286625"/>
                <a:gd name="connsiteX14" fmla="*/ 2054860 w 2679700"/>
                <a:gd name="connsiteY14" fmla="*/ 1130925 h 2286625"/>
                <a:gd name="connsiteX15" fmla="*/ 2237740 w 2679700"/>
                <a:gd name="connsiteY15" fmla="*/ 1169025 h 2286625"/>
                <a:gd name="connsiteX16" fmla="*/ 2329180 w 2679700"/>
                <a:gd name="connsiteY16" fmla="*/ 1062345 h 2286625"/>
                <a:gd name="connsiteX17" fmla="*/ 2245360 w 2679700"/>
                <a:gd name="connsiteY17" fmla="*/ 993765 h 2286625"/>
                <a:gd name="connsiteX18" fmla="*/ 2306320 w 2679700"/>
                <a:gd name="connsiteY18" fmla="*/ 963285 h 2286625"/>
                <a:gd name="connsiteX19" fmla="*/ 2303915 w 2679700"/>
                <a:gd name="connsiteY19" fmla="*/ 959477 h 2286625"/>
                <a:gd name="connsiteX20" fmla="*/ 2476500 w 2679700"/>
                <a:gd name="connsiteY20" fmla="*/ 959477 h 2286625"/>
                <a:gd name="connsiteX21" fmla="*/ 2578100 w 2679700"/>
                <a:gd name="connsiteY21" fmla="*/ 1099177 h 2286625"/>
                <a:gd name="connsiteX22" fmla="*/ 2679700 w 2679700"/>
                <a:gd name="connsiteY22" fmla="*/ 1219827 h 2286625"/>
                <a:gd name="connsiteX23" fmla="*/ 2508250 w 2679700"/>
                <a:gd name="connsiteY23" fmla="*/ 1226177 h 2286625"/>
                <a:gd name="connsiteX24" fmla="*/ 2438400 w 2679700"/>
                <a:gd name="connsiteY24" fmla="*/ 1321427 h 2286625"/>
                <a:gd name="connsiteX25" fmla="*/ 2381250 w 2679700"/>
                <a:gd name="connsiteY25" fmla="*/ 1302377 h 2286625"/>
                <a:gd name="connsiteX26" fmla="*/ 2279650 w 2679700"/>
                <a:gd name="connsiteY26" fmla="*/ 1378577 h 2286625"/>
                <a:gd name="connsiteX27" fmla="*/ 2260600 w 2679700"/>
                <a:gd name="connsiteY27" fmla="*/ 1454777 h 2286625"/>
                <a:gd name="connsiteX28" fmla="*/ 2317750 w 2679700"/>
                <a:gd name="connsiteY28" fmla="*/ 1588127 h 2286625"/>
                <a:gd name="connsiteX29" fmla="*/ 2273300 w 2679700"/>
                <a:gd name="connsiteY29" fmla="*/ 1632577 h 2286625"/>
                <a:gd name="connsiteX30" fmla="*/ 2203450 w 2679700"/>
                <a:gd name="connsiteY30" fmla="*/ 1632577 h 2286625"/>
                <a:gd name="connsiteX31" fmla="*/ 2171700 w 2679700"/>
                <a:gd name="connsiteY31" fmla="*/ 1696077 h 2286625"/>
                <a:gd name="connsiteX32" fmla="*/ 2171700 w 2679700"/>
                <a:gd name="connsiteY32" fmla="*/ 1746877 h 2286625"/>
                <a:gd name="connsiteX33" fmla="*/ 2057400 w 2679700"/>
                <a:gd name="connsiteY33" fmla="*/ 1753227 h 2286625"/>
                <a:gd name="connsiteX34" fmla="*/ 2025650 w 2679700"/>
                <a:gd name="connsiteY34" fmla="*/ 1645277 h 2286625"/>
                <a:gd name="connsiteX35" fmla="*/ 1936750 w 2679700"/>
                <a:gd name="connsiteY35" fmla="*/ 1772277 h 2286625"/>
                <a:gd name="connsiteX36" fmla="*/ 1974850 w 2679700"/>
                <a:gd name="connsiteY36" fmla="*/ 1816727 h 2286625"/>
                <a:gd name="connsiteX37" fmla="*/ 2032000 w 2679700"/>
                <a:gd name="connsiteY37" fmla="*/ 1854827 h 2286625"/>
                <a:gd name="connsiteX38" fmla="*/ 1974850 w 2679700"/>
                <a:gd name="connsiteY38" fmla="*/ 1924677 h 2286625"/>
                <a:gd name="connsiteX39" fmla="*/ 1984153 w 2679700"/>
                <a:gd name="connsiteY39" fmla="*/ 1945821 h 2286625"/>
                <a:gd name="connsiteX40" fmla="*/ 1962150 w 2679700"/>
                <a:gd name="connsiteY40" fmla="*/ 1943725 h 2286625"/>
                <a:gd name="connsiteX41" fmla="*/ 1873250 w 2679700"/>
                <a:gd name="connsiteY41" fmla="*/ 1994525 h 2286625"/>
                <a:gd name="connsiteX42" fmla="*/ 1828800 w 2679700"/>
                <a:gd name="connsiteY42" fmla="*/ 1956425 h 2286625"/>
                <a:gd name="connsiteX43" fmla="*/ 1701800 w 2679700"/>
                <a:gd name="connsiteY43" fmla="*/ 1981825 h 2286625"/>
                <a:gd name="connsiteX44" fmla="*/ 1568450 w 2679700"/>
                <a:gd name="connsiteY44" fmla="*/ 2032625 h 2286625"/>
                <a:gd name="connsiteX45" fmla="*/ 1562100 w 2679700"/>
                <a:gd name="connsiteY45" fmla="*/ 1969125 h 2286625"/>
                <a:gd name="connsiteX46" fmla="*/ 1492250 w 2679700"/>
                <a:gd name="connsiteY46" fmla="*/ 1905625 h 2286625"/>
                <a:gd name="connsiteX47" fmla="*/ 1466850 w 2679700"/>
                <a:gd name="connsiteY47" fmla="*/ 1810375 h 2286625"/>
                <a:gd name="connsiteX48" fmla="*/ 1403350 w 2679700"/>
                <a:gd name="connsiteY48" fmla="*/ 1816725 h 2286625"/>
                <a:gd name="connsiteX49" fmla="*/ 1333500 w 2679700"/>
                <a:gd name="connsiteY49" fmla="*/ 1899275 h 2286625"/>
                <a:gd name="connsiteX50" fmla="*/ 1358900 w 2679700"/>
                <a:gd name="connsiteY50" fmla="*/ 2038975 h 2286625"/>
                <a:gd name="connsiteX51" fmla="*/ 1320800 w 2679700"/>
                <a:gd name="connsiteY51" fmla="*/ 2172325 h 2286625"/>
                <a:gd name="connsiteX52" fmla="*/ 1219200 w 2679700"/>
                <a:gd name="connsiteY52" fmla="*/ 2159625 h 2286625"/>
                <a:gd name="connsiteX53" fmla="*/ 1193800 w 2679700"/>
                <a:gd name="connsiteY53" fmla="*/ 2058025 h 2286625"/>
                <a:gd name="connsiteX54" fmla="*/ 1168400 w 2679700"/>
                <a:gd name="connsiteY54" fmla="*/ 2058025 h 2286625"/>
                <a:gd name="connsiteX55" fmla="*/ 1060450 w 2679700"/>
                <a:gd name="connsiteY55" fmla="*/ 2064375 h 2286625"/>
                <a:gd name="connsiteX56" fmla="*/ 1066800 w 2679700"/>
                <a:gd name="connsiteY56" fmla="*/ 2000875 h 2286625"/>
                <a:gd name="connsiteX57" fmla="*/ 965200 w 2679700"/>
                <a:gd name="connsiteY57" fmla="*/ 1988175 h 2286625"/>
                <a:gd name="connsiteX58" fmla="*/ 812800 w 2679700"/>
                <a:gd name="connsiteY58" fmla="*/ 2045325 h 2286625"/>
                <a:gd name="connsiteX59" fmla="*/ 825500 w 2679700"/>
                <a:gd name="connsiteY59" fmla="*/ 2096125 h 2286625"/>
                <a:gd name="connsiteX60" fmla="*/ 876300 w 2679700"/>
                <a:gd name="connsiteY60" fmla="*/ 2140575 h 2286625"/>
                <a:gd name="connsiteX61" fmla="*/ 933450 w 2679700"/>
                <a:gd name="connsiteY61" fmla="*/ 2172325 h 2286625"/>
                <a:gd name="connsiteX62" fmla="*/ 927100 w 2679700"/>
                <a:gd name="connsiteY62" fmla="*/ 2223125 h 2286625"/>
                <a:gd name="connsiteX63" fmla="*/ 825500 w 2679700"/>
                <a:gd name="connsiteY63" fmla="*/ 2216775 h 2286625"/>
                <a:gd name="connsiteX64" fmla="*/ 800100 w 2679700"/>
                <a:gd name="connsiteY64" fmla="*/ 2286625 h 2286625"/>
                <a:gd name="connsiteX65" fmla="*/ 717550 w 2679700"/>
                <a:gd name="connsiteY65" fmla="*/ 2242175 h 2286625"/>
                <a:gd name="connsiteX66" fmla="*/ 666750 w 2679700"/>
                <a:gd name="connsiteY66" fmla="*/ 2077075 h 2286625"/>
                <a:gd name="connsiteX67" fmla="*/ 558800 w 2679700"/>
                <a:gd name="connsiteY67" fmla="*/ 1969125 h 2286625"/>
                <a:gd name="connsiteX68" fmla="*/ 508000 w 2679700"/>
                <a:gd name="connsiteY68" fmla="*/ 1988175 h 2286625"/>
                <a:gd name="connsiteX69" fmla="*/ 450850 w 2679700"/>
                <a:gd name="connsiteY69" fmla="*/ 1867525 h 2286625"/>
                <a:gd name="connsiteX70" fmla="*/ 336550 w 2679700"/>
                <a:gd name="connsiteY70" fmla="*/ 1791325 h 2286625"/>
                <a:gd name="connsiteX71" fmla="*/ 247650 w 2679700"/>
                <a:gd name="connsiteY71" fmla="*/ 1753225 h 2286625"/>
                <a:gd name="connsiteX72" fmla="*/ 165100 w 2679700"/>
                <a:gd name="connsiteY72" fmla="*/ 1848475 h 2286625"/>
                <a:gd name="connsiteX73" fmla="*/ 171450 w 2679700"/>
                <a:gd name="connsiteY73" fmla="*/ 1664325 h 2286625"/>
                <a:gd name="connsiteX74" fmla="*/ 209550 w 2679700"/>
                <a:gd name="connsiteY74" fmla="*/ 1626225 h 2286625"/>
                <a:gd name="connsiteX75" fmla="*/ 171450 w 2679700"/>
                <a:gd name="connsiteY75" fmla="*/ 1575425 h 2286625"/>
                <a:gd name="connsiteX76" fmla="*/ 95250 w 2679700"/>
                <a:gd name="connsiteY76" fmla="*/ 1581775 h 2286625"/>
                <a:gd name="connsiteX77" fmla="*/ 107950 w 2679700"/>
                <a:gd name="connsiteY77" fmla="*/ 1632575 h 2286625"/>
                <a:gd name="connsiteX78" fmla="*/ 57150 w 2679700"/>
                <a:gd name="connsiteY78" fmla="*/ 1645275 h 2286625"/>
                <a:gd name="connsiteX79" fmla="*/ 0 w 2679700"/>
                <a:gd name="connsiteY79" fmla="*/ 1588125 h 2286625"/>
                <a:gd name="connsiteX80" fmla="*/ 82550 w 2679700"/>
                <a:gd name="connsiteY80" fmla="*/ 1340475 h 2286625"/>
                <a:gd name="connsiteX81" fmla="*/ 165100 w 2679700"/>
                <a:gd name="connsiteY81" fmla="*/ 1327775 h 2286625"/>
                <a:gd name="connsiteX82" fmla="*/ 171450 w 2679700"/>
                <a:gd name="connsiteY82" fmla="*/ 1238875 h 2286625"/>
                <a:gd name="connsiteX83" fmla="*/ 127000 w 2679700"/>
                <a:gd name="connsiteY83" fmla="*/ 1226175 h 2286625"/>
                <a:gd name="connsiteX84" fmla="*/ 88900 w 2679700"/>
                <a:gd name="connsiteY84" fmla="*/ 1226175 h 2286625"/>
                <a:gd name="connsiteX85" fmla="*/ 88900 w 2679700"/>
                <a:gd name="connsiteY85" fmla="*/ 1169025 h 2286625"/>
                <a:gd name="connsiteX86" fmla="*/ 171450 w 2679700"/>
                <a:gd name="connsiteY86" fmla="*/ 1169025 h 2286625"/>
                <a:gd name="connsiteX87" fmla="*/ 139700 w 2679700"/>
                <a:gd name="connsiteY87" fmla="*/ 1073775 h 2286625"/>
                <a:gd name="connsiteX88" fmla="*/ 228600 w 2679700"/>
                <a:gd name="connsiteY88" fmla="*/ 1067425 h 2286625"/>
                <a:gd name="connsiteX89" fmla="*/ 304800 w 2679700"/>
                <a:gd name="connsiteY89" fmla="*/ 1086475 h 2286625"/>
                <a:gd name="connsiteX90" fmla="*/ 342900 w 2679700"/>
                <a:gd name="connsiteY90" fmla="*/ 1048375 h 2286625"/>
                <a:gd name="connsiteX91" fmla="*/ 260350 w 2679700"/>
                <a:gd name="connsiteY91" fmla="*/ 972175 h 2286625"/>
                <a:gd name="connsiteX92" fmla="*/ 285750 w 2679700"/>
                <a:gd name="connsiteY92" fmla="*/ 921375 h 2286625"/>
                <a:gd name="connsiteX93" fmla="*/ 234950 w 2679700"/>
                <a:gd name="connsiteY93" fmla="*/ 864225 h 2286625"/>
                <a:gd name="connsiteX94" fmla="*/ 317500 w 2679700"/>
                <a:gd name="connsiteY94" fmla="*/ 889625 h 2286625"/>
                <a:gd name="connsiteX95" fmla="*/ 342900 w 2679700"/>
                <a:gd name="connsiteY95" fmla="*/ 807075 h 2286625"/>
                <a:gd name="connsiteX96" fmla="*/ 209550 w 2679700"/>
                <a:gd name="connsiteY96" fmla="*/ 762625 h 2286625"/>
                <a:gd name="connsiteX97" fmla="*/ 184150 w 2679700"/>
                <a:gd name="connsiteY97" fmla="*/ 673725 h 2286625"/>
                <a:gd name="connsiteX98" fmla="*/ 88900 w 2679700"/>
                <a:gd name="connsiteY98" fmla="*/ 641975 h 2286625"/>
                <a:gd name="connsiteX99" fmla="*/ 63500 w 2679700"/>
                <a:gd name="connsiteY99" fmla="*/ 508625 h 2286625"/>
                <a:gd name="connsiteX100" fmla="*/ 58425 w 2679700"/>
                <a:gd name="connsiteY100" fmla="*/ 499256 h 2286625"/>
                <a:gd name="connsiteX101" fmla="*/ 359768 w 2679700"/>
                <a:gd name="connsiteY101" fmla="*/ 330504 h 2286625"/>
                <a:gd name="connsiteX102" fmla="*/ 455018 w 2679700"/>
                <a:gd name="connsiteY102" fmla="*/ 184454 h 2286625"/>
                <a:gd name="connsiteX103" fmla="*/ 543918 w 2679700"/>
                <a:gd name="connsiteY103" fmla="*/ 184454 h 2286625"/>
                <a:gd name="connsiteX104" fmla="*/ 569318 w 2679700"/>
                <a:gd name="connsiteY104" fmla="*/ 228904 h 2286625"/>
                <a:gd name="connsiteX105" fmla="*/ 702668 w 2679700"/>
                <a:gd name="connsiteY105" fmla="*/ 222554 h 2286625"/>
                <a:gd name="connsiteX106" fmla="*/ 772518 w 2679700"/>
                <a:gd name="connsiteY106" fmla="*/ 114604 h 2286625"/>
                <a:gd name="connsiteX107" fmla="*/ 772518 w 2679700"/>
                <a:gd name="connsiteY107" fmla="*/ 114604 h 2286625"/>
                <a:gd name="connsiteX108" fmla="*/ 721958 w 2679700"/>
                <a:gd name="connsiteY108" fmla="*/ 0 h 2286625"/>
                <a:gd name="connsiteX109" fmla="*/ 772518 w 2679700"/>
                <a:gd name="connsiteY109" fmla="*/ 114604 h 2286625"/>
                <a:gd name="connsiteX0" fmla="*/ 772518 w 2679700"/>
                <a:gd name="connsiteY0" fmla="*/ 0 h 2172021"/>
                <a:gd name="connsiteX1" fmla="*/ 770406 w 2679700"/>
                <a:gd name="connsiteY1" fmla="*/ 3264 h 2172021"/>
                <a:gd name="connsiteX2" fmla="*/ 1018540 w 2679700"/>
                <a:gd name="connsiteY2" fmla="*/ 33341 h 2172021"/>
                <a:gd name="connsiteX3" fmla="*/ 1003300 w 2679700"/>
                <a:gd name="connsiteY3" fmla="*/ 132401 h 2172021"/>
                <a:gd name="connsiteX4" fmla="*/ 1079500 w 2679700"/>
                <a:gd name="connsiteY4" fmla="*/ 345761 h 2172021"/>
                <a:gd name="connsiteX5" fmla="*/ 1422400 w 2679700"/>
                <a:gd name="connsiteY5" fmla="*/ 376241 h 2172021"/>
                <a:gd name="connsiteX6" fmla="*/ 1529080 w 2679700"/>
                <a:gd name="connsiteY6" fmla="*/ 513401 h 2172021"/>
                <a:gd name="connsiteX7" fmla="*/ 1460500 w 2679700"/>
                <a:gd name="connsiteY7" fmla="*/ 612461 h 2172021"/>
                <a:gd name="connsiteX8" fmla="*/ 1445260 w 2679700"/>
                <a:gd name="connsiteY8" fmla="*/ 673421 h 2172021"/>
                <a:gd name="connsiteX9" fmla="*/ 1506220 w 2679700"/>
                <a:gd name="connsiteY9" fmla="*/ 673421 h 2172021"/>
                <a:gd name="connsiteX10" fmla="*/ 1559560 w 2679700"/>
                <a:gd name="connsiteY10" fmla="*/ 841061 h 2172021"/>
                <a:gd name="connsiteX11" fmla="*/ 1628140 w 2679700"/>
                <a:gd name="connsiteY11" fmla="*/ 787721 h 2172021"/>
                <a:gd name="connsiteX12" fmla="*/ 1788160 w 2679700"/>
                <a:gd name="connsiteY12" fmla="*/ 894401 h 2172021"/>
                <a:gd name="connsiteX13" fmla="*/ 1948180 w 2679700"/>
                <a:gd name="connsiteY13" fmla="*/ 909641 h 2172021"/>
                <a:gd name="connsiteX14" fmla="*/ 2054860 w 2679700"/>
                <a:gd name="connsiteY14" fmla="*/ 1016321 h 2172021"/>
                <a:gd name="connsiteX15" fmla="*/ 2237740 w 2679700"/>
                <a:gd name="connsiteY15" fmla="*/ 1054421 h 2172021"/>
                <a:gd name="connsiteX16" fmla="*/ 2329180 w 2679700"/>
                <a:gd name="connsiteY16" fmla="*/ 947741 h 2172021"/>
                <a:gd name="connsiteX17" fmla="*/ 2245360 w 2679700"/>
                <a:gd name="connsiteY17" fmla="*/ 879161 h 2172021"/>
                <a:gd name="connsiteX18" fmla="*/ 2306320 w 2679700"/>
                <a:gd name="connsiteY18" fmla="*/ 848681 h 2172021"/>
                <a:gd name="connsiteX19" fmla="*/ 2303915 w 2679700"/>
                <a:gd name="connsiteY19" fmla="*/ 844873 h 2172021"/>
                <a:gd name="connsiteX20" fmla="*/ 2476500 w 2679700"/>
                <a:gd name="connsiteY20" fmla="*/ 844873 h 2172021"/>
                <a:gd name="connsiteX21" fmla="*/ 2578100 w 2679700"/>
                <a:gd name="connsiteY21" fmla="*/ 984573 h 2172021"/>
                <a:gd name="connsiteX22" fmla="*/ 2679700 w 2679700"/>
                <a:gd name="connsiteY22" fmla="*/ 1105223 h 2172021"/>
                <a:gd name="connsiteX23" fmla="*/ 2508250 w 2679700"/>
                <a:gd name="connsiteY23" fmla="*/ 1111573 h 2172021"/>
                <a:gd name="connsiteX24" fmla="*/ 2438400 w 2679700"/>
                <a:gd name="connsiteY24" fmla="*/ 1206823 h 2172021"/>
                <a:gd name="connsiteX25" fmla="*/ 2381250 w 2679700"/>
                <a:gd name="connsiteY25" fmla="*/ 1187773 h 2172021"/>
                <a:gd name="connsiteX26" fmla="*/ 2279650 w 2679700"/>
                <a:gd name="connsiteY26" fmla="*/ 1263973 h 2172021"/>
                <a:gd name="connsiteX27" fmla="*/ 2260600 w 2679700"/>
                <a:gd name="connsiteY27" fmla="*/ 1340173 h 2172021"/>
                <a:gd name="connsiteX28" fmla="*/ 2317750 w 2679700"/>
                <a:gd name="connsiteY28" fmla="*/ 1473523 h 2172021"/>
                <a:gd name="connsiteX29" fmla="*/ 2273300 w 2679700"/>
                <a:gd name="connsiteY29" fmla="*/ 1517973 h 2172021"/>
                <a:gd name="connsiteX30" fmla="*/ 2203450 w 2679700"/>
                <a:gd name="connsiteY30" fmla="*/ 1517973 h 2172021"/>
                <a:gd name="connsiteX31" fmla="*/ 2171700 w 2679700"/>
                <a:gd name="connsiteY31" fmla="*/ 1581473 h 2172021"/>
                <a:gd name="connsiteX32" fmla="*/ 2171700 w 2679700"/>
                <a:gd name="connsiteY32" fmla="*/ 1632273 h 2172021"/>
                <a:gd name="connsiteX33" fmla="*/ 2057400 w 2679700"/>
                <a:gd name="connsiteY33" fmla="*/ 1638623 h 2172021"/>
                <a:gd name="connsiteX34" fmla="*/ 2025650 w 2679700"/>
                <a:gd name="connsiteY34" fmla="*/ 1530673 h 2172021"/>
                <a:gd name="connsiteX35" fmla="*/ 1936750 w 2679700"/>
                <a:gd name="connsiteY35" fmla="*/ 1657673 h 2172021"/>
                <a:gd name="connsiteX36" fmla="*/ 1974850 w 2679700"/>
                <a:gd name="connsiteY36" fmla="*/ 1702123 h 2172021"/>
                <a:gd name="connsiteX37" fmla="*/ 2032000 w 2679700"/>
                <a:gd name="connsiteY37" fmla="*/ 1740223 h 2172021"/>
                <a:gd name="connsiteX38" fmla="*/ 1974850 w 2679700"/>
                <a:gd name="connsiteY38" fmla="*/ 1810073 h 2172021"/>
                <a:gd name="connsiteX39" fmla="*/ 1984153 w 2679700"/>
                <a:gd name="connsiteY39" fmla="*/ 1831217 h 2172021"/>
                <a:gd name="connsiteX40" fmla="*/ 1962150 w 2679700"/>
                <a:gd name="connsiteY40" fmla="*/ 1829121 h 2172021"/>
                <a:gd name="connsiteX41" fmla="*/ 1873250 w 2679700"/>
                <a:gd name="connsiteY41" fmla="*/ 1879921 h 2172021"/>
                <a:gd name="connsiteX42" fmla="*/ 1828800 w 2679700"/>
                <a:gd name="connsiteY42" fmla="*/ 1841821 h 2172021"/>
                <a:gd name="connsiteX43" fmla="*/ 1701800 w 2679700"/>
                <a:gd name="connsiteY43" fmla="*/ 1867221 h 2172021"/>
                <a:gd name="connsiteX44" fmla="*/ 1568450 w 2679700"/>
                <a:gd name="connsiteY44" fmla="*/ 1918021 h 2172021"/>
                <a:gd name="connsiteX45" fmla="*/ 1562100 w 2679700"/>
                <a:gd name="connsiteY45" fmla="*/ 1854521 h 2172021"/>
                <a:gd name="connsiteX46" fmla="*/ 1492250 w 2679700"/>
                <a:gd name="connsiteY46" fmla="*/ 1791021 h 2172021"/>
                <a:gd name="connsiteX47" fmla="*/ 1466850 w 2679700"/>
                <a:gd name="connsiteY47" fmla="*/ 1695771 h 2172021"/>
                <a:gd name="connsiteX48" fmla="*/ 1403350 w 2679700"/>
                <a:gd name="connsiteY48" fmla="*/ 1702121 h 2172021"/>
                <a:gd name="connsiteX49" fmla="*/ 1333500 w 2679700"/>
                <a:gd name="connsiteY49" fmla="*/ 1784671 h 2172021"/>
                <a:gd name="connsiteX50" fmla="*/ 1358900 w 2679700"/>
                <a:gd name="connsiteY50" fmla="*/ 1924371 h 2172021"/>
                <a:gd name="connsiteX51" fmla="*/ 1320800 w 2679700"/>
                <a:gd name="connsiteY51" fmla="*/ 2057721 h 2172021"/>
                <a:gd name="connsiteX52" fmla="*/ 1219200 w 2679700"/>
                <a:gd name="connsiteY52" fmla="*/ 2045021 h 2172021"/>
                <a:gd name="connsiteX53" fmla="*/ 1193800 w 2679700"/>
                <a:gd name="connsiteY53" fmla="*/ 1943421 h 2172021"/>
                <a:gd name="connsiteX54" fmla="*/ 1168400 w 2679700"/>
                <a:gd name="connsiteY54" fmla="*/ 1943421 h 2172021"/>
                <a:gd name="connsiteX55" fmla="*/ 1060450 w 2679700"/>
                <a:gd name="connsiteY55" fmla="*/ 1949771 h 2172021"/>
                <a:gd name="connsiteX56" fmla="*/ 1066800 w 2679700"/>
                <a:gd name="connsiteY56" fmla="*/ 1886271 h 2172021"/>
                <a:gd name="connsiteX57" fmla="*/ 965200 w 2679700"/>
                <a:gd name="connsiteY57" fmla="*/ 1873571 h 2172021"/>
                <a:gd name="connsiteX58" fmla="*/ 812800 w 2679700"/>
                <a:gd name="connsiteY58" fmla="*/ 1930721 h 2172021"/>
                <a:gd name="connsiteX59" fmla="*/ 825500 w 2679700"/>
                <a:gd name="connsiteY59" fmla="*/ 1981521 h 2172021"/>
                <a:gd name="connsiteX60" fmla="*/ 876300 w 2679700"/>
                <a:gd name="connsiteY60" fmla="*/ 2025971 h 2172021"/>
                <a:gd name="connsiteX61" fmla="*/ 933450 w 2679700"/>
                <a:gd name="connsiteY61" fmla="*/ 2057721 h 2172021"/>
                <a:gd name="connsiteX62" fmla="*/ 927100 w 2679700"/>
                <a:gd name="connsiteY62" fmla="*/ 2108521 h 2172021"/>
                <a:gd name="connsiteX63" fmla="*/ 825500 w 2679700"/>
                <a:gd name="connsiteY63" fmla="*/ 2102171 h 2172021"/>
                <a:gd name="connsiteX64" fmla="*/ 800100 w 2679700"/>
                <a:gd name="connsiteY64" fmla="*/ 2172021 h 2172021"/>
                <a:gd name="connsiteX65" fmla="*/ 717550 w 2679700"/>
                <a:gd name="connsiteY65" fmla="*/ 2127571 h 2172021"/>
                <a:gd name="connsiteX66" fmla="*/ 666750 w 2679700"/>
                <a:gd name="connsiteY66" fmla="*/ 1962471 h 2172021"/>
                <a:gd name="connsiteX67" fmla="*/ 558800 w 2679700"/>
                <a:gd name="connsiteY67" fmla="*/ 1854521 h 2172021"/>
                <a:gd name="connsiteX68" fmla="*/ 508000 w 2679700"/>
                <a:gd name="connsiteY68" fmla="*/ 1873571 h 2172021"/>
                <a:gd name="connsiteX69" fmla="*/ 450850 w 2679700"/>
                <a:gd name="connsiteY69" fmla="*/ 1752921 h 2172021"/>
                <a:gd name="connsiteX70" fmla="*/ 336550 w 2679700"/>
                <a:gd name="connsiteY70" fmla="*/ 1676721 h 2172021"/>
                <a:gd name="connsiteX71" fmla="*/ 247650 w 2679700"/>
                <a:gd name="connsiteY71" fmla="*/ 1638621 h 2172021"/>
                <a:gd name="connsiteX72" fmla="*/ 165100 w 2679700"/>
                <a:gd name="connsiteY72" fmla="*/ 1733871 h 2172021"/>
                <a:gd name="connsiteX73" fmla="*/ 171450 w 2679700"/>
                <a:gd name="connsiteY73" fmla="*/ 1549721 h 2172021"/>
                <a:gd name="connsiteX74" fmla="*/ 209550 w 2679700"/>
                <a:gd name="connsiteY74" fmla="*/ 1511621 h 2172021"/>
                <a:gd name="connsiteX75" fmla="*/ 171450 w 2679700"/>
                <a:gd name="connsiteY75" fmla="*/ 1460821 h 2172021"/>
                <a:gd name="connsiteX76" fmla="*/ 95250 w 2679700"/>
                <a:gd name="connsiteY76" fmla="*/ 1467171 h 2172021"/>
                <a:gd name="connsiteX77" fmla="*/ 107950 w 2679700"/>
                <a:gd name="connsiteY77" fmla="*/ 1517971 h 2172021"/>
                <a:gd name="connsiteX78" fmla="*/ 57150 w 2679700"/>
                <a:gd name="connsiteY78" fmla="*/ 1530671 h 2172021"/>
                <a:gd name="connsiteX79" fmla="*/ 0 w 2679700"/>
                <a:gd name="connsiteY79" fmla="*/ 1473521 h 2172021"/>
                <a:gd name="connsiteX80" fmla="*/ 82550 w 2679700"/>
                <a:gd name="connsiteY80" fmla="*/ 1225871 h 2172021"/>
                <a:gd name="connsiteX81" fmla="*/ 165100 w 2679700"/>
                <a:gd name="connsiteY81" fmla="*/ 1213171 h 2172021"/>
                <a:gd name="connsiteX82" fmla="*/ 171450 w 2679700"/>
                <a:gd name="connsiteY82" fmla="*/ 1124271 h 2172021"/>
                <a:gd name="connsiteX83" fmla="*/ 127000 w 2679700"/>
                <a:gd name="connsiteY83" fmla="*/ 1111571 h 2172021"/>
                <a:gd name="connsiteX84" fmla="*/ 88900 w 2679700"/>
                <a:gd name="connsiteY84" fmla="*/ 1111571 h 2172021"/>
                <a:gd name="connsiteX85" fmla="*/ 88900 w 2679700"/>
                <a:gd name="connsiteY85" fmla="*/ 1054421 h 2172021"/>
                <a:gd name="connsiteX86" fmla="*/ 171450 w 2679700"/>
                <a:gd name="connsiteY86" fmla="*/ 1054421 h 2172021"/>
                <a:gd name="connsiteX87" fmla="*/ 139700 w 2679700"/>
                <a:gd name="connsiteY87" fmla="*/ 959171 h 2172021"/>
                <a:gd name="connsiteX88" fmla="*/ 228600 w 2679700"/>
                <a:gd name="connsiteY88" fmla="*/ 952821 h 2172021"/>
                <a:gd name="connsiteX89" fmla="*/ 304800 w 2679700"/>
                <a:gd name="connsiteY89" fmla="*/ 971871 h 2172021"/>
                <a:gd name="connsiteX90" fmla="*/ 342900 w 2679700"/>
                <a:gd name="connsiteY90" fmla="*/ 933771 h 2172021"/>
                <a:gd name="connsiteX91" fmla="*/ 260350 w 2679700"/>
                <a:gd name="connsiteY91" fmla="*/ 857571 h 2172021"/>
                <a:gd name="connsiteX92" fmla="*/ 285750 w 2679700"/>
                <a:gd name="connsiteY92" fmla="*/ 806771 h 2172021"/>
                <a:gd name="connsiteX93" fmla="*/ 234950 w 2679700"/>
                <a:gd name="connsiteY93" fmla="*/ 749621 h 2172021"/>
                <a:gd name="connsiteX94" fmla="*/ 317500 w 2679700"/>
                <a:gd name="connsiteY94" fmla="*/ 775021 h 2172021"/>
                <a:gd name="connsiteX95" fmla="*/ 342900 w 2679700"/>
                <a:gd name="connsiteY95" fmla="*/ 692471 h 2172021"/>
                <a:gd name="connsiteX96" fmla="*/ 209550 w 2679700"/>
                <a:gd name="connsiteY96" fmla="*/ 648021 h 2172021"/>
                <a:gd name="connsiteX97" fmla="*/ 184150 w 2679700"/>
                <a:gd name="connsiteY97" fmla="*/ 559121 h 2172021"/>
                <a:gd name="connsiteX98" fmla="*/ 88900 w 2679700"/>
                <a:gd name="connsiteY98" fmla="*/ 527371 h 2172021"/>
                <a:gd name="connsiteX99" fmla="*/ 63500 w 2679700"/>
                <a:gd name="connsiteY99" fmla="*/ 394021 h 2172021"/>
                <a:gd name="connsiteX100" fmla="*/ 58425 w 2679700"/>
                <a:gd name="connsiteY100" fmla="*/ 384652 h 2172021"/>
                <a:gd name="connsiteX101" fmla="*/ 359768 w 2679700"/>
                <a:gd name="connsiteY101" fmla="*/ 215900 h 2172021"/>
                <a:gd name="connsiteX102" fmla="*/ 455018 w 2679700"/>
                <a:gd name="connsiteY102" fmla="*/ 69850 h 2172021"/>
                <a:gd name="connsiteX103" fmla="*/ 543918 w 2679700"/>
                <a:gd name="connsiteY103" fmla="*/ 69850 h 2172021"/>
                <a:gd name="connsiteX104" fmla="*/ 569318 w 2679700"/>
                <a:gd name="connsiteY104" fmla="*/ 114300 h 2172021"/>
                <a:gd name="connsiteX105" fmla="*/ 702668 w 2679700"/>
                <a:gd name="connsiteY105" fmla="*/ 107950 h 2172021"/>
                <a:gd name="connsiteX106" fmla="*/ 772518 w 2679700"/>
                <a:gd name="connsiteY106" fmla="*/ 0 h 2172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2679700" h="2172021">
                  <a:moveTo>
                    <a:pt x="772518" y="0"/>
                  </a:moveTo>
                  <a:lnTo>
                    <a:pt x="770406" y="3264"/>
                  </a:lnTo>
                  <a:lnTo>
                    <a:pt x="1018540" y="33341"/>
                  </a:lnTo>
                  <a:lnTo>
                    <a:pt x="1003300" y="132401"/>
                  </a:lnTo>
                  <a:lnTo>
                    <a:pt x="1079500" y="345761"/>
                  </a:lnTo>
                  <a:lnTo>
                    <a:pt x="1422400" y="376241"/>
                  </a:lnTo>
                  <a:lnTo>
                    <a:pt x="1529080" y="513401"/>
                  </a:lnTo>
                  <a:lnTo>
                    <a:pt x="1460500" y="612461"/>
                  </a:lnTo>
                  <a:lnTo>
                    <a:pt x="1445260" y="673421"/>
                  </a:lnTo>
                  <a:lnTo>
                    <a:pt x="1506220" y="673421"/>
                  </a:lnTo>
                  <a:lnTo>
                    <a:pt x="1559560" y="841061"/>
                  </a:lnTo>
                  <a:lnTo>
                    <a:pt x="1628140" y="787721"/>
                  </a:lnTo>
                  <a:lnTo>
                    <a:pt x="1788160" y="894401"/>
                  </a:lnTo>
                  <a:lnTo>
                    <a:pt x="1948180" y="909641"/>
                  </a:lnTo>
                  <a:lnTo>
                    <a:pt x="2054860" y="1016321"/>
                  </a:lnTo>
                  <a:lnTo>
                    <a:pt x="2237740" y="1054421"/>
                  </a:lnTo>
                  <a:lnTo>
                    <a:pt x="2329180" y="947741"/>
                  </a:lnTo>
                  <a:lnTo>
                    <a:pt x="2245360" y="879161"/>
                  </a:lnTo>
                  <a:lnTo>
                    <a:pt x="2306320" y="848681"/>
                  </a:lnTo>
                  <a:lnTo>
                    <a:pt x="2303915" y="844873"/>
                  </a:lnTo>
                  <a:lnTo>
                    <a:pt x="2476500" y="844873"/>
                  </a:lnTo>
                  <a:lnTo>
                    <a:pt x="2578100" y="984573"/>
                  </a:lnTo>
                  <a:lnTo>
                    <a:pt x="2679700" y="1105223"/>
                  </a:lnTo>
                  <a:lnTo>
                    <a:pt x="2508250" y="1111573"/>
                  </a:lnTo>
                  <a:lnTo>
                    <a:pt x="2438400" y="1206823"/>
                  </a:lnTo>
                  <a:lnTo>
                    <a:pt x="2381250" y="1187773"/>
                  </a:lnTo>
                  <a:lnTo>
                    <a:pt x="2279650" y="1263973"/>
                  </a:lnTo>
                  <a:lnTo>
                    <a:pt x="2260600" y="1340173"/>
                  </a:lnTo>
                  <a:lnTo>
                    <a:pt x="2317750" y="1473523"/>
                  </a:lnTo>
                  <a:lnTo>
                    <a:pt x="2273300" y="1517973"/>
                  </a:lnTo>
                  <a:lnTo>
                    <a:pt x="2203450" y="1517973"/>
                  </a:lnTo>
                  <a:lnTo>
                    <a:pt x="2171700" y="1581473"/>
                  </a:lnTo>
                  <a:lnTo>
                    <a:pt x="2171700" y="1632273"/>
                  </a:lnTo>
                  <a:lnTo>
                    <a:pt x="2057400" y="1638623"/>
                  </a:lnTo>
                  <a:lnTo>
                    <a:pt x="2025650" y="1530673"/>
                  </a:lnTo>
                  <a:lnTo>
                    <a:pt x="1936750" y="1657673"/>
                  </a:lnTo>
                  <a:lnTo>
                    <a:pt x="1974850" y="1702123"/>
                  </a:lnTo>
                  <a:lnTo>
                    <a:pt x="2032000" y="1740223"/>
                  </a:lnTo>
                  <a:lnTo>
                    <a:pt x="1974850" y="1810073"/>
                  </a:lnTo>
                  <a:lnTo>
                    <a:pt x="1984153" y="1831217"/>
                  </a:lnTo>
                  <a:lnTo>
                    <a:pt x="1962150" y="1829121"/>
                  </a:lnTo>
                  <a:lnTo>
                    <a:pt x="1873250" y="1879921"/>
                  </a:lnTo>
                  <a:lnTo>
                    <a:pt x="1828800" y="1841821"/>
                  </a:lnTo>
                  <a:lnTo>
                    <a:pt x="1701800" y="1867221"/>
                  </a:lnTo>
                  <a:lnTo>
                    <a:pt x="1568450" y="1918021"/>
                  </a:lnTo>
                  <a:lnTo>
                    <a:pt x="1562100" y="1854521"/>
                  </a:lnTo>
                  <a:lnTo>
                    <a:pt x="1492250" y="1791021"/>
                  </a:lnTo>
                  <a:lnTo>
                    <a:pt x="1466850" y="1695771"/>
                  </a:lnTo>
                  <a:lnTo>
                    <a:pt x="1403350" y="1702121"/>
                  </a:lnTo>
                  <a:lnTo>
                    <a:pt x="1333500" y="1784671"/>
                  </a:lnTo>
                  <a:lnTo>
                    <a:pt x="1358900" y="1924371"/>
                  </a:lnTo>
                  <a:lnTo>
                    <a:pt x="1320800" y="2057721"/>
                  </a:lnTo>
                  <a:lnTo>
                    <a:pt x="1219200" y="2045021"/>
                  </a:lnTo>
                  <a:lnTo>
                    <a:pt x="1193800" y="1943421"/>
                  </a:lnTo>
                  <a:lnTo>
                    <a:pt x="1168400" y="1943421"/>
                  </a:lnTo>
                  <a:lnTo>
                    <a:pt x="1060450" y="1949771"/>
                  </a:lnTo>
                  <a:lnTo>
                    <a:pt x="1066800" y="1886271"/>
                  </a:lnTo>
                  <a:lnTo>
                    <a:pt x="965200" y="1873571"/>
                  </a:lnTo>
                  <a:lnTo>
                    <a:pt x="812800" y="1930721"/>
                  </a:lnTo>
                  <a:lnTo>
                    <a:pt x="825500" y="1981521"/>
                  </a:lnTo>
                  <a:lnTo>
                    <a:pt x="876300" y="2025971"/>
                  </a:lnTo>
                  <a:lnTo>
                    <a:pt x="933450" y="2057721"/>
                  </a:lnTo>
                  <a:lnTo>
                    <a:pt x="927100" y="2108521"/>
                  </a:lnTo>
                  <a:lnTo>
                    <a:pt x="825500" y="2102171"/>
                  </a:lnTo>
                  <a:lnTo>
                    <a:pt x="800100" y="2172021"/>
                  </a:lnTo>
                  <a:lnTo>
                    <a:pt x="717550" y="2127571"/>
                  </a:lnTo>
                  <a:lnTo>
                    <a:pt x="666750" y="1962471"/>
                  </a:lnTo>
                  <a:lnTo>
                    <a:pt x="558800" y="1854521"/>
                  </a:lnTo>
                  <a:lnTo>
                    <a:pt x="508000" y="1873571"/>
                  </a:lnTo>
                  <a:lnTo>
                    <a:pt x="450850" y="1752921"/>
                  </a:lnTo>
                  <a:lnTo>
                    <a:pt x="336550" y="1676721"/>
                  </a:lnTo>
                  <a:lnTo>
                    <a:pt x="247650" y="1638621"/>
                  </a:lnTo>
                  <a:lnTo>
                    <a:pt x="165100" y="1733871"/>
                  </a:lnTo>
                  <a:lnTo>
                    <a:pt x="171450" y="1549721"/>
                  </a:lnTo>
                  <a:lnTo>
                    <a:pt x="209550" y="1511621"/>
                  </a:lnTo>
                  <a:lnTo>
                    <a:pt x="171450" y="1460821"/>
                  </a:lnTo>
                  <a:lnTo>
                    <a:pt x="95250" y="1467171"/>
                  </a:lnTo>
                  <a:lnTo>
                    <a:pt x="107950" y="1517971"/>
                  </a:lnTo>
                  <a:lnTo>
                    <a:pt x="57150" y="1530671"/>
                  </a:lnTo>
                  <a:lnTo>
                    <a:pt x="0" y="1473521"/>
                  </a:lnTo>
                  <a:lnTo>
                    <a:pt x="82550" y="1225871"/>
                  </a:lnTo>
                  <a:lnTo>
                    <a:pt x="165100" y="1213171"/>
                  </a:lnTo>
                  <a:lnTo>
                    <a:pt x="171450" y="1124271"/>
                  </a:lnTo>
                  <a:lnTo>
                    <a:pt x="127000" y="1111571"/>
                  </a:lnTo>
                  <a:lnTo>
                    <a:pt x="88900" y="1111571"/>
                  </a:lnTo>
                  <a:lnTo>
                    <a:pt x="88900" y="1054421"/>
                  </a:lnTo>
                  <a:lnTo>
                    <a:pt x="171450" y="1054421"/>
                  </a:lnTo>
                  <a:lnTo>
                    <a:pt x="139700" y="959171"/>
                  </a:lnTo>
                  <a:lnTo>
                    <a:pt x="228600" y="952821"/>
                  </a:lnTo>
                  <a:lnTo>
                    <a:pt x="304800" y="971871"/>
                  </a:lnTo>
                  <a:lnTo>
                    <a:pt x="342900" y="933771"/>
                  </a:lnTo>
                  <a:lnTo>
                    <a:pt x="260350" y="857571"/>
                  </a:lnTo>
                  <a:lnTo>
                    <a:pt x="285750" y="806771"/>
                  </a:lnTo>
                  <a:lnTo>
                    <a:pt x="234950" y="749621"/>
                  </a:lnTo>
                  <a:lnTo>
                    <a:pt x="317500" y="775021"/>
                  </a:lnTo>
                  <a:lnTo>
                    <a:pt x="342900" y="692471"/>
                  </a:lnTo>
                  <a:lnTo>
                    <a:pt x="209550" y="648021"/>
                  </a:lnTo>
                  <a:lnTo>
                    <a:pt x="184150" y="559121"/>
                  </a:lnTo>
                  <a:lnTo>
                    <a:pt x="88900" y="527371"/>
                  </a:lnTo>
                  <a:lnTo>
                    <a:pt x="63500" y="394021"/>
                  </a:lnTo>
                  <a:lnTo>
                    <a:pt x="58425" y="384652"/>
                  </a:lnTo>
                  <a:lnTo>
                    <a:pt x="359768" y="215900"/>
                  </a:lnTo>
                  <a:lnTo>
                    <a:pt x="455018" y="69850"/>
                  </a:lnTo>
                  <a:lnTo>
                    <a:pt x="543918" y="69850"/>
                  </a:lnTo>
                  <a:lnTo>
                    <a:pt x="569318" y="114300"/>
                  </a:lnTo>
                  <a:lnTo>
                    <a:pt x="702668" y="107950"/>
                  </a:lnTo>
                  <a:lnTo>
                    <a:pt x="772518" y="0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_Map_Nordrhein Westfalen">
              <a:extLst>
                <a:ext uri="{FF2B5EF4-FFF2-40B4-BE49-F238E27FC236}">
                  <a16:creationId xmlns:a16="http://schemas.microsoft.com/office/drawing/2014/main" id="{59D95430-CE26-402C-B3A5-2960EC285AA6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393795" y="3230603"/>
              <a:ext cx="1249082" cy="1217103"/>
            </a:xfrm>
            <a:custGeom>
              <a:avLst/>
              <a:gdLst>
                <a:gd name="connsiteX0" fmla="*/ 1077236 w 3482053"/>
                <a:gd name="connsiteY0" fmla="*/ 146239 h 3392907"/>
                <a:gd name="connsiteX1" fmla="*/ 1082435 w 3482053"/>
                <a:gd name="connsiteY1" fmla="*/ 147019 h 3392907"/>
                <a:gd name="connsiteX2" fmla="*/ 1110303 w 3482053"/>
                <a:gd name="connsiteY2" fmla="*/ 356028 h 3392907"/>
                <a:gd name="connsiteX3" fmla="*/ 1082434 w 3482053"/>
                <a:gd name="connsiteY3" fmla="*/ 147019 h 3392907"/>
                <a:gd name="connsiteX4" fmla="*/ 2707034 w 3482053"/>
                <a:gd name="connsiteY4" fmla="*/ 0 h 3392907"/>
                <a:gd name="connsiteX5" fmla="*/ 2745134 w 3482053"/>
                <a:gd name="connsiteY5" fmla="*/ 196850 h 3392907"/>
                <a:gd name="connsiteX6" fmla="*/ 2941984 w 3482053"/>
                <a:gd name="connsiteY6" fmla="*/ 203200 h 3392907"/>
                <a:gd name="connsiteX7" fmla="*/ 3062634 w 3482053"/>
                <a:gd name="connsiteY7" fmla="*/ 50800 h 3392907"/>
                <a:gd name="connsiteX8" fmla="*/ 3119784 w 3482053"/>
                <a:gd name="connsiteY8" fmla="*/ 57150 h 3392907"/>
                <a:gd name="connsiteX9" fmla="*/ 3100734 w 3482053"/>
                <a:gd name="connsiteY9" fmla="*/ 127001 h 3392907"/>
                <a:gd name="connsiteX10" fmla="*/ 3132484 w 3482053"/>
                <a:gd name="connsiteY10" fmla="*/ 177800 h 3392907"/>
                <a:gd name="connsiteX11" fmla="*/ 3024534 w 3482053"/>
                <a:gd name="connsiteY11" fmla="*/ 311150 h 3392907"/>
                <a:gd name="connsiteX12" fmla="*/ 2973734 w 3482053"/>
                <a:gd name="connsiteY12" fmla="*/ 400050 h 3392907"/>
                <a:gd name="connsiteX13" fmla="*/ 3068984 w 3482053"/>
                <a:gd name="connsiteY13" fmla="*/ 457200 h 3392907"/>
                <a:gd name="connsiteX14" fmla="*/ 3068984 w 3482053"/>
                <a:gd name="connsiteY14" fmla="*/ 546100 h 3392907"/>
                <a:gd name="connsiteX15" fmla="*/ 2999134 w 3482053"/>
                <a:gd name="connsiteY15" fmla="*/ 546100 h 3392907"/>
                <a:gd name="connsiteX16" fmla="*/ 3018184 w 3482053"/>
                <a:gd name="connsiteY16" fmla="*/ 603250 h 3392907"/>
                <a:gd name="connsiteX17" fmla="*/ 3145184 w 3482053"/>
                <a:gd name="connsiteY17" fmla="*/ 603250 h 3392907"/>
                <a:gd name="connsiteX18" fmla="*/ 3208684 w 3482053"/>
                <a:gd name="connsiteY18" fmla="*/ 869950 h 3392907"/>
                <a:gd name="connsiteX19" fmla="*/ 3278534 w 3482053"/>
                <a:gd name="connsiteY19" fmla="*/ 869950 h 3392907"/>
                <a:gd name="connsiteX20" fmla="*/ 3278534 w 3482053"/>
                <a:gd name="connsiteY20" fmla="*/ 908050 h 3392907"/>
                <a:gd name="connsiteX21" fmla="*/ 3329334 w 3482053"/>
                <a:gd name="connsiteY21" fmla="*/ 1009650 h 3392907"/>
                <a:gd name="connsiteX22" fmla="*/ 3437284 w 3482053"/>
                <a:gd name="connsiteY22" fmla="*/ 1035050 h 3392907"/>
                <a:gd name="connsiteX23" fmla="*/ 3380134 w 3482053"/>
                <a:gd name="connsiteY23" fmla="*/ 1200151 h 3392907"/>
                <a:gd name="connsiteX24" fmla="*/ 3380134 w 3482053"/>
                <a:gd name="connsiteY24" fmla="*/ 1358900 h 3392907"/>
                <a:gd name="connsiteX25" fmla="*/ 3482053 w 3482053"/>
                <a:gd name="connsiteY25" fmla="*/ 1370548 h 3392907"/>
                <a:gd name="connsiteX26" fmla="*/ 3450896 w 3482053"/>
                <a:gd name="connsiteY26" fmla="*/ 1394781 h 3392907"/>
                <a:gd name="connsiteX27" fmla="*/ 3359456 w 3482053"/>
                <a:gd name="connsiteY27" fmla="*/ 1402401 h 3392907"/>
                <a:gd name="connsiteX28" fmla="*/ 3397556 w 3482053"/>
                <a:gd name="connsiteY28" fmla="*/ 1432881 h 3392907"/>
                <a:gd name="connsiteX29" fmla="*/ 3176576 w 3482053"/>
                <a:gd name="connsiteY29" fmla="*/ 1653861 h 3392907"/>
                <a:gd name="connsiteX30" fmla="*/ 3107996 w 3482053"/>
                <a:gd name="connsiteY30" fmla="*/ 1669101 h 3392907"/>
                <a:gd name="connsiteX31" fmla="*/ 3092756 w 3482053"/>
                <a:gd name="connsiteY31" fmla="*/ 1592901 h 3392907"/>
                <a:gd name="connsiteX32" fmla="*/ 3047036 w 3482053"/>
                <a:gd name="connsiteY32" fmla="*/ 1562421 h 3392907"/>
                <a:gd name="connsiteX33" fmla="*/ 2947976 w 3482053"/>
                <a:gd name="connsiteY33" fmla="*/ 1615761 h 3392907"/>
                <a:gd name="connsiteX34" fmla="*/ 2970836 w 3482053"/>
                <a:gd name="connsiteY34" fmla="*/ 1691961 h 3392907"/>
                <a:gd name="connsiteX35" fmla="*/ 2978456 w 3482053"/>
                <a:gd name="connsiteY35" fmla="*/ 1768161 h 3392907"/>
                <a:gd name="connsiteX36" fmla="*/ 2749856 w 3482053"/>
                <a:gd name="connsiteY36" fmla="*/ 1768161 h 3392907"/>
                <a:gd name="connsiteX37" fmla="*/ 2589836 w 3482053"/>
                <a:gd name="connsiteY37" fmla="*/ 1935801 h 3392907"/>
                <a:gd name="connsiteX38" fmla="*/ 2666036 w 3482053"/>
                <a:gd name="connsiteY38" fmla="*/ 1989141 h 3392907"/>
                <a:gd name="connsiteX39" fmla="*/ 2765096 w 3482053"/>
                <a:gd name="connsiteY39" fmla="*/ 1928181 h 3392907"/>
                <a:gd name="connsiteX40" fmla="*/ 2818436 w 3482053"/>
                <a:gd name="connsiteY40" fmla="*/ 2027241 h 3392907"/>
                <a:gd name="connsiteX41" fmla="*/ 2749856 w 3482053"/>
                <a:gd name="connsiteY41" fmla="*/ 2217741 h 3392907"/>
                <a:gd name="connsiteX42" fmla="*/ 2566976 w 3482053"/>
                <a:gd name="connsiteY42" fmla="*/ 2217741 h 3392907"/>
                <a:gd name="connsiteX43" fmla="*/ 2566976 w 3482053"/>
                <a:gd name="connsiteY43" fmla="*/ 2293941 h 3392907"/>
                <a:gd name="connsiteX44" fmla="*/ 2498396 w 3482053"/>
                <a:gd name="connsiteY44" fmla="*/ 2484441 h 3392907"/>
                <a:gd name="connsiteX45" fmla="*/ 2437436 w 3482053"/>
                <a:gd name="connsiteY45" fmla="*/ 2568261 h 3392907"/>
                <a:gd name="connsiteX46" fmla="*/ 2338376 w 3482053"/>
                <a:gd name="connsiteY46" fmla="*/ 2514921 h 3392907"/>
                <a:gd name="connsiteX47" fmla="*/ 2201216 w 3482053"/>
                <a:gd name="connsiteY47" fmla="*/ 2659701 h 3392907"/>
                <a:gd name="connsiteX48" fmla="*/ 2239316 w 3482053"/>
                <a:gd name="connsiteY48" fmla="*/ 2796861 h 3392907"/>
                <a:gd name="connsiteX49" fmla="*/ 2132636 w 3482053"/>
                <a:gd name="connsiteY49" fmla="*/ 2812101 h 3392907"/>
                <a:gd name="connsiteX50" fmla="*/ 2033576 w 3482053"/>
                <a:gd name="connsiteY50" fmla="*/ 2690181 h 3392907"/>
                <a:gd name="connsiteX51" fmla="*/ 2041196 w 3482053"/>
                <a:gd name="connsiteY51" fmla="*/ 2606361 h 3392907"/>
                <a:gd name="connsiteX52" fmla="*/ 1980236 w 3482053"/>
                <a:gd name="connsiteY52" fmla="*/ 2568261 h 3392907"/>
                <a:gd name="connsiteX53" fmla="*/ 1896416 w 3482053"/>
                <a:gd name="connsiteY53" fmla="*/ 2476821 h 3392907"/>
                <a:gd name="connsiteX54" fmla="*/ 1896416 w 3482053"/>
                <a:gd name="connsiteY54" fmla="*/ 2438721 h 3392907"/>
                <a:gd name="connsiteX55" fmla="*/ 1827836 w 3482053"/>
                <a:gd name="connsiteY55" fmla="*/ 2461581 h 3392907"/>
                <a:gd name="connsiteX56" fmla="*/ 1858316 w 3482053"/>
                <a:gd name="connsiteY56" fmla="*/ 2568261 h 3392907"/>
                <a:gd name="connsiteX57" fmla="*/ 1690676 w 3482053"/>
                <a:gd name="connsiteY57" fmla="*/ 2743521 h 3392907"/>
                <a:gd name="connsiteX58" fmla="*/ 1469696 w 3482053"/>
                <a:gd name="connsiteY58" fmla="*/ 2789241 h 3392907"/>
                <a:gd name="connsiteX59" fmla="*/ 1469696 w 3482053"/>
                <a:gd name="connsiteY59" fmla="*/ 2895921 h 3392907"/>
                <a:gd name="connsiteX60" fmla="*/ 1332536 w 3482053"/>
                <a:gd name="connsiteY60" fmla="*/ 2911161 h 3392907"/>
                <a:gd name="connsiteX61" fmla="*/ 1324916 w 3482053"/>
                <a:gd name="connsiteY61" fmla="*/ 2857821 h 3392907"/>
                <a:gd name="connsiteX62" fmla="*/ 1180136 w 3482053"/>
                <a:gd name="connsiteY62" fmla="*/ 2994981 h 3392907"/>
                <a:gd name="connsiteX63" fmla="*/ 1004876 w 3482053"/>
                <a:gd name="connsiteY63" fmla="*/ 3040701 h 3392907"/>
                <a:gd name="connsiteX64" fmla="*/ 1027736 w 3482053"/>
                <a:gd name="connsiteY64" fmla="*/ 3155001 h 3392907"/>
                <a:gd name="connsiteX65" fmla="*/ 959156 w 3482053"/>
                <a:gd name="connsiteY65" fmla="*/ 3155001 h 3392907"/>
                <a:gd name="connsiteX66" fmla="*/ 936296 w 3482053"/>
                <a:gd name="connsiteY66" fmla="*/ 3109281 h 3392907"/>
                <a:gd name="connsiteX67" fmla="*/ 890576 w 3482053"/>
                <a:gd name="connsiteY67" fmla="*/ 3170241 h 3392907"/>
                <a:gd name="connsiteX68" fmla="*/ 921056 w 3482053"/>
                <a:gd name="connsiteY68" fmla="*/ 3330261 h 3392907"/>
                <a:gd name="connsiteX69" fmla="*/ 852476 w 3482053"/>
                <a:gd name="connsiteY69" fmla="*/ 3345501 h 3392907"/>
                <a:gd name="connsiteX70" fmla="*/ 623876 w 3482053"/>
                <a:gd name="connsiteY70" fmla="*/ 3337881 h 3392907"/>
                <a:gd name="connsiteX71" fmla="*/ 474903 w 3482053"/>
                <a:gd name="connsiteY71" fmla="*/ 3392907 h 3392907"/>
                <a:gd name="connsiteX72" fmla="*/ 462780 w 3482053"/>
                <a:gd name="connsiteY72" fmla="*/ 3308045 h 3392907"/>
                <a:gd name="connsiteX73" fmla="*/ 462780 w 3482053"/>
                <a:gd name="connsiteY73" fmla="*/ 3174701 h 3392907"/>
                <a:gd name="connsiteX74" fmla="*/ 337280 w 3482053"/>
                <a:gd name="connsiteY74" fmla="*/ 3198233 h 3392907"/>
                <a:gd name="connsiteX75" fmla="*/ 250999 w 3482053"/>
                <a:gd name="connsiteY75" fmla="*/ 3111952 h 3392907"/>
                <a:gd name="connsiteX76" fmla="*/ 368655 w 3482053"/>
                <a:gd name="connsiteY76" fmla="*/ 2970764 h 3392907"/>
                <a:gd name="connsiteX77" fmla="*/ 266687 w 3482053"/>
                <a:gd name="connsiteY77" fmla="*/ 2970764 h 3392907"/>
                <a:gd name="connsiteX78" fmla="*/ 227468 w 3482053"/>
                <a:gd name="connsiteY78" fmla="*/ 2845264 h 3392907"/>
                <a:gd name="connsiteX79" fmla="*/ 180406 w 3482053"/>
                <a:gd name="connsiteY79" fmla="*/ 2853108 h 3392907"/>
                <a:gd name="connsiteX80" fmla="*/ 86281 w 3482053"/>
                <a:gd name="connsiteY80" fmla="*/ 2766827 h 3392907"/>
                <a:gd name="connsiteX81" fmla="*/ 78437 w 3482053"/>
                <a:gd name="connsiteY81" fmla="*/ 2769441 h 3392907"/>
                <a:gd name="connsiteX82" fmla="*/ 78437 w 3482053"/>
                <a:gd name="connsiteY82" fmla="*/ 2688390 h 3392907"/>
                <a:gd name="connsiteX83" fmla="*/ 203937 w 3482053"/>
                <a:gd name="connsiteY83" fmla="*/ 2578577 h 3392907"/>
                <a:gd name="connsiteX84" fmla="*/ 141187 w 3482053"/>
                <a:gd name="connsiteY84" fmla="*/ 2468765 h 3392907"/>
                <a:gd name="connsiteX85" fmla="*/ 47062 w 3482053"/>
                <a:gd name="connsiteY85" fmla="*/ 2437390 h 3392907"/>
                <a:gd name="connsiteX86" fmla="*/ 0 w 3482053"/>
                <a:gd name="connsiteY86" fmla="*/ 2358953 h 3392907"/>
                <a:gd name="connsiteX87" fmla="*/ 329437 w 3482053"/>
                <a:gd name="connsiteY87" fmla="*/ 2107953 h 3392907"/>
                <a:gd name="connsiteX88" fmla="*/ 141187 w 3482053"/>
                <a:gd name="connsiteY88" fmla="*/ 2123641 h 3392907"/>
                <a:gd name="connsiteX89" fmla="*/ 345124 w 3482053"/>
                <a:gd name="connsiteY89" fmla="*/ 1762829 h 3392907"/>
                <a:gd name="connsiteX90" fmla="*/ 219624 w 3482053"/>
                <a:gd name="connsiteY90" fmla="*/ 1449079 h 3392907"/>
                <a:gd name="connsiteX91" fmla="*/ 31375 w 3482053"/>
                <a:gd name="connsiteY91" fmla="*/ 1166704 h 3392907"/>
                <a:gd name="connsiteX92" fmla="*/ 188249 w 3482053"/>
                <a:gd name="connsiteY92" fmla="*/ 1009830 h 3392907"/>
                <a:gd name="connsiteX93" fmla="*/ 329437 w 3482053"/>
                <a:gd name="connsiteY93" fmla="*/ 1103955 h 3392907"/>
                <a:gd name="connsiteX94" fmla="*/ 486311 w 3482053"/>
                <a:gd name="connsiteY94" fmla="*/ 1072580 h 3392907"/>
                <a:gd name="connsiteX95" fmla="*/ 768685 w 3482053"/>
                <a:gd name="connsiteY95" fmla="*/ 1025517 h 3392907"/>
                <a:gd name="connsiteX96" fmla="*/ 878498 w 3482053"/>
                <a:gd name="connsiteY96" fmla="*/ 978455 h 3392907"/>
                <a:gd name="connsiteX97" fmla="*/ 894185 w 3482053"/>
                <a:gd name="connsiteY97" fmla="*/ 852955 h 3392907"/>
                <a:gd name="connsiteX98" fmla="*/ 784373 w 3482053"/>
                <a:gd name="connsiteY98" fmla="*/ 727455 h 3392907"/>
                <a:gd name="connsiteX99" fmla="*/ 1129497 w 3482053"/>
                <a:gd name="connsiteY99" fmla="*/ 523518 h 3392907"/>
                <a:gd name="connsiteX100" fmla="*/ 1121430 w 3482053"/>
                <a:gd name="connsiteY100" fmla="*/ 450910 h 3392907"/>
                <a:gd name="connsiteX101" fmla="*/ 1132234 w 3482053"/>
                <a:gd name="connsiteY101" fmla="*/ 457200 h 3392907"/>
                <a:gd name="connsiteX102" fmla="*/ 1411634 w 3482053"/>
                <a:gd name="connsiteY102" fmla="*/ 387350 h 3392907"/>
                <a:gd name="connsiteX103" fmla="*/ 1665634 w 3482053"/>
                <a:gd name="connsiteY103" fmla="*/ 234950 h 3392907"/>
                <a:gd name="connsiteX104" fmla="*/ 1652934 w 3482053"/>
                <a:gd name="connsiteY104" fmla="*/ 152400 h 3392907"/>
                <a:gd name="connsiteX105" fmla="*/ 1684684 w 3482053"/>
                <a:gd name="connsiteY105" fmla="*/ 101601 h 3392907"/>
                <a:gd name="connsiteX106" fmla="*/ 1748184 w 3482053"/>
                <a:gd name="connsiteY106" fmla="*/ 101601 h 3392907"/>
                <a:gd name="connsiteX107" fmla="*/ 1786284 w 3482053"/>
                <a:gd name="connsiteY107" fmla="*/ 196850 h 3392907"/>
                <a:gd name="connsiteX108" fmla="*/ 1938684 w 3482053"/>
                <a:gd name="connsiteY108" fmla="*/ 234950 h 3392907"/>
                <a:gd name="connsiteX109" fmla="*/ 2033934 w 3482053"/>
                <a:gd name="connsiteY109" fmla="*/ 330200 h 3392907"/>
                <a:gd name="connsiteX110" fmla="*/ 1983134 w 3482053"/>
                <a:gd name="connsiteY110" fmla="*/ 387350 h 3392907"/>
                <a:gd name="connsiteX111" fmla="*/ 1964084 w 3482053"/>
                <a:gd name="connsiteY111" fmla="*/ 527050 h 3392907"/>
                <a:gd name="connsiteX112" fmla="*/ 2072034 w 3482053"/>
                <a:gd name="connsiteY112" fmla="*/ 571500 h 3392907"/>
                <a:gd name="connsiteX113" fmla="*/ 2059334 w 3482053"/>
                <a:gd name="connsiteY113" fmla="*/ 660400 h 3392907"/>
                <a:gd name="connsiteX114" fmla="*/ 1951384 w 3482053"/>
                <a:gd name="connsiteY114" fmla="*/ 679450 h 3392907"/>
                <a:gd name="connsiteX115" fmla="*/ 2008534 w 3482053"/>
                <a:gd name="connsiteY115" fmla="*/ 768350 h 3392907"/>
                <a:gd name="connsiteX116" fmla="*/ 2122834 w 3482053"/>
                <a:gd name="connsiteY116" fmla="*/ 704850 h 3392907"/>
                <a:gd name="connsiteX117" fmla="*/ 2167284 w 3482053"/>
                <a:gd name="connsiteY117" fmla="*/ 730250 h 3392907"/>
                <a:gd name="connsiteX118" fmla="*/ 2300634 w 3482053"/>
                <a:gd name="connsiteY118" fmla="*/ 603250 h 3392907"/>
                <a:gd name="connsiteX119" fmla="*/ 2395884 w 3482053"/>
                <a:gd name="connsiteY119" fmla="*/ 654050 h 3392907"/>
                <a:gd name="connsiteX120" fmla="*/ 2548284 w 3482053"/>
                <a:gd name="connsiteY120" fmla="*/ 527050 h 3392907"/>
                <a:gd name="connsiteX121" fmla="*/ 2459384 w 3482053"/>
                <a:gd name="connsiteY121" fmla="*/ 520700 h 3392907"/>
                <a:gd name="connsiteX122" fmla="*/ 2491134 w 3482053"/>
                <a:gd name="connsiteY122" fmla="*/ 273050 h 3392907"/>
                <a:gd name="connsiteX123" fmla="*/ 2376834 w 3482053"/>
                <a:gd name="connsiteY123" fmla="*/ 203200 h 3392907"/>
                <a:gd name="connsiteX124" fmla="*/ 2345084 w 3482053"/>
                <a:gd name="connsiteY124" fmla="*/ 127001 h 3392907"/>
                <a:gd name="connsiteX125" fmla="*/ 2472084 w 3482053"/>
                <a:gd name="connsiteY125" fmla="*/ 120650 h 3392907"/>
                <a:gd name="connsiteX126" fmla="*/ 2541934 w 3482053"/>
                <a:gd name="connsiteY126" fmla="*/ 50800 h 3392907"/>
                <a:gd name="connsiteX127" fmla="*/ 2618134 w 3482053"/>
                <a:gd name="connsiteY127" fmla="*/ 44450 h 339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3482053" h="3392907">
                  <a:moveTo>
                    <a:pt x="1077236" y="146239"/>
                  </a:moveTo>
                  <a:lnTo>
                    <a:pt x="1082435" y="147019"/>
                  </a:lnTo>
                  <a:lnTo>
                    <a:pt x="1110303" y="356028"/>
                  </a:lnTo>
                  <a:lnTo>
                    <a:pt x="1082434" y="147019"/>
                  </a:lnTo>
                  <a:close/>
                  <a:moveTo>
                    <a:pt x="2707034" y="0"/>
                  </a:moveTo>
                  <a:lnTo>
                    <a:pt x="2745134" y="196850"/>
                  </a:lnTo>
                  <a:lnTo>
                    <a:pt x="2941984" y="203200"/>
                  </a:lnTo>
                  <a:lnTo>
                    <a:pt x="3062634" y="50800"/>
                  </a:lnTo>
                  <a:lnTo>
                    <a:pt x="3119784" y="57150"/>
                  </a:lnTo>
                  <a:lnTo>
                    <a:pt x="3100734" y="127001"/>
                  </a:lnTo>
                  <a:lnTo>
                    <a:pt x="3132484" y="177800"/>
                  </a:lnTo>
                  <a:lnTo>
                    <a:pt x="3024534" y="311150"/>
                  </a:lnTo>
                  <a:lnTo>
                    <a:pt x="2973734" y="400050"/>
                  </a:lnTo>
                  <a:lnTo>
                    <a:pt x="3068984" y="457200"/>
                  </a:lnTo>
                  <a:lnTo>
                    <a:pt x="3068984" y="546100"/>
                  </a:lnTo>
                  <a:lnTo>
                    <a:pt x="2999134" y="546100"/>
                  </a:lnTo>
                  <a:lnTo>
                    <a:pt x="3018184" y="603250"/>
                  </a:lnTo>
                  <a:lnTo>
                    <a:pt x="3145184" y="603250"/>
                  </a:lnTo>
                  <a:lnTo>
                    <a:pt x="3208684" y="869950"/>
                  </a:lnTo>
                  <a:lnTo>
                    <a:pt x="3278534" y="869950"/>
                  </a:lnTo>
                  <a:lnTo>
                    <a:pt x="3278534" y="908050"/>
                  </a:lnTo>
                  <a:lnTo>
                    <a:pt x="3329334" y="1009650"/>
                  </a:lnTo>
                  <a:lnTo>
                    <a:pt x="3437284" y="1035050"/>
                  </a:lnTo>
                  <a:lnTo>
                    <a:pt x="3380134" y="1200151"/>
                  </a:lnTo>
                  <a:lnTo>
                    <a:pt x="3380134" y="1358900"/>
                  </a:lnTo>
                  <a:lnTo>
                    <a:pt x="3482053" y="1370548"/>
                  </a:lnTo>
                  <a:lnTo>
                    <a:pt x="3450896" y="1394781"/>
                  </a:lnTo>
                  <a:lnTo>
                    <a:pt x="3359456" y="1402401"/>
                  </a:lnTo>
                  <a:lnTo>
                    <a:pt x="3397556" y="1432881"/>
                  </a:lnTo>
                  <a:lnTo>
                    <a:pt x="3176576" y="1653861"/>
                  </a:lnTo>
                  <a:lnTo>
                    <a:pt x="3107996" y="1669101"/>
                  </a:lnTo>
                  <a:lnTo>
                    <a:pt x="3092756" y="1592901"/>
                  </a:lnTo>
                  <a:lnTo>
                    <a:pt x="3047036" y="1562421"/>
                  </a:lnTo>
                  <a:lnTo>
                    <a:pt x="2947976" y="1615761"/>
                  </a:lnTo>
                  <a:lnTo>
                    <a:pt x="2970836" y="1691961"/>
                  </a:lnTo>
                  <a:lnTo>
                    <a:pt x="2978456" y="1768161"/>
                  </a:lnTo>
                  <a:lnTo>
                    <a:pt x="2749856" y="1768161"/>
                  </a:lnTo>
                  <a:lnTo>
                    <a:pt x="2589836" y="1935801"/>
                  </a:lnTo>
                  <a:lnTo>
                    <a:pt x="2666036" y="1989141"/>
                  </a:lnTo>
                  <a:lnTo>
                    <a:pt x="2765096" y="1928181"/>
                  </a:lnTo>
                  <a:lnTo>
                    <a:pt x="2818436" y="2027241"/>
                  </a:lnTo>
                  <a:lnTo>
                    <a:pt x="2749856" y="2217741"/>
                  </a:lnTo>
                  <a:lnTo>
                    <a:pt x="2566976" y="2217741"/>
                  </a:lnTo>
                  <a:lnTo>
                    <a:pt x="2566976" y="2293941"/>
                  </a:lnTo>
                  <a:lnTo>
                    <a:pt x="2498396" y="2484441"/>
                  </a:lnTo>
                  <a:lnTo>
                    <a:pt x="2437436" y="2568261"/>
                  </a:lnTo>
                  <a:lnTo>
                    <a:pt x="2338376" y="2514921"/>
                  </a:lnTo>
                  <a:lnTo>
                    <a:pt x="2201216" y="2659701"/>
                  </a:lnTo>
                  <a:lnTo>
                    <a:pt x="2239316" y="2796861"/>
                  </a:lnTo>
                  <a:lnTo>
                    <a:pt x="2132636" y="2812101"/>
                  </a:lnTo>
                  <a:lnTo>
                    <a:pt x="2033576" y="2690181"/>
                  </a:lnTo>
                  <a:lnTo>
                    <a:pt x="2041196" y="2606361"/>
                  </a:lnTo>
                  <a:lnTo>
                    <a:pt x="1980236" y="2568261"/>
                  </a:lnTo>
                  <a:lnTo>
                    <a:pt x="1896416" y="2476821"/>
                  </a:lnTo>
                  <a:lnTo>
                    <a:pt x="1896416" y="2438721"/>
                  </a:lnTo>
                  <a:lnTo>
                    <a:pt x="1827836" y="2461581"/>
                  </a:lnTo>
                  <a:lnTo>
                    <a:pt x="1858316" y="2568261"/>
                  </a:lnTo>
                  <a:lnTo>
                    <a:pt x="1690676" y="2743521"/>
                  </a:lnTo>
                  <a:lnTo>
                    <a:pt x="1469696" y="2789241"/>
                  </a:lnTo>
                  <a:lnTo>
                    <a:pt x="1469696" y="2895921"/>
                  </a:lnTo>
                  <a:lnTo>
                    <a:pt x="1332536" y="2911161"/>
                  </a:lnTo>
                  <a:lnTo>
                    <a:pt x="1324916" y="2857821"/>
                  </a:lnTo>
                  <a:lnTo>
                    <a:pt x="1180136" y="2994981"/>
                  </a:lnTo>
                  <a:lnTo>
                    <a:pt x="1004876" y="3040701"/>
                  </a:lnTo>
                  <a:lnTo>
                    <a:pt x="1027736" y="3155001"/>
                  </a:lnTo>
                  <a:lnTo>
                    <a:pt x="959156" y="3155001"/>
                  </a:lnTo>
                  <a:lnTo>
                    <a:pt x="936296" y="3109281"/>
                  </a:lnTo>
                  <a:lnTo>
                    <a:pt x="890576" y="3170241"/>
                  </a:lnTo>
                  <a:lnTo>
                    <a:pt x="921056" y="3330261"/>
                  </a:lnTo>
                  <a:lnTo>
                    <a:pt x="852476" y="3345501"/>
                  </a:lnTo>
                  <a:lnTo>
                    <a:pt x="623876" y="3337881"/>
                  </a:lnTo>
                  <a:lnTo>
                    <a:pt x="474903" y="3392907"/>
                  </a:lnTo>
                  <a:lnTo>
                    <a:pt x="462780" y="3308045"/>
                  </a:lnTo>
                  <a:lnTo>
                    <a:pt x="462780" y="3174701"/>
                  </a:lnTo>
                  <a:lnTo>
                    <a:pt x="337280" y="3198233"/>
                  </a:lnTo>
                  <a:lnTo>
                    <a:pt x="250999" y="3111952"/>
                  </a:lnTo>
                  <a:lnTo>
                    <a:pt x="368655" y="2970764"/>
                  </a:lnTo>
                  <a:lnTo>
                    <a:pt x="266687" y="2970764"/>
                  </a:lnTo>
                  <a:lnTo>
                    <a:pt x="227468" y="2845264"/>
                  </a:lnTo>
                  <a:lnTo>
                    <a:pt x="180406" y="2853108"/>
                  </a:lnTo>
                  <a:lnTo>
                    <a:pt x="86281" y="2766827"/>
                  </a:lnTo>
                  <a:lnTo>
                    <a:pt x="78437" y="2769441"/>
                  </a:lnTo>
                  <a:lnTo>
                    <a:pt x="78437" y="2688390"/>
                  </a:lnTo>
                  <a:lnTo>
                    <a:pt x="203937" y="2578577"/>
                  </a:lnTo>
                  <a:lnTo>
                    <a:pt x="141187" y="2468765"/>
                  </a:lnTo>
                  <a:lnTo>
                    <a:pt x="47062" y="2437390"/>
                  </a:lnTo>
                  <a:lnTo>
                    <a:pt x="0" y="2358953"/>
                  </a:lnTo>
                  <a:lnTo>
                    <a:pt x="329437" y="2107953"/>
                  </a:lnTo>
                  <a:lnTo>
                    <a:pt x="141187" y="2123641"/>
                  </a:lnTo>
                  <a:lnTo>
                    <a:pt x="345124" y="1762829"/>
                  </a:lnTo>
                  <a:lnTo>
                    <a:pt x="219624" y="1449079"/>
                  </a:lnTo>
                  <a:lnTo>
                    <a:pt x="31375" y="1166704"/>
                  </a:lnTo>
                  <a:lnTo>
                    <a:pt x="188249" y="1009830"/>
                  </a:lnTo>
                  <a:lnTo>
                    <a:pt x="329437" y="1103955"/>
                  </a:lnTo>
                  <a:lnTo>
                    <a:pt x="486311" y="1072580"/>
                  </a:lnTo>
                  <a:lnTo>
                    <a:pt x="768685" y="1025517"/>
                  </a:lnTo>
                  <a:lnTo>
                    <a:pt x="878498" y="978455"/>
                  </a:lnTo>
                  <a:lnTo>
                    <a:pt x="894185" y="852955"/>
                  </a:lnTo>
                  <a:lnTo>
                    <a:pt x="784373" y="727455"/>
                  </a:lnTo>
                  <a:lnTo>
                    <a:pt x="1129497" y="523518"/>
                  </a:lnTo>
                  <a:lnTo>
                    <a:pt x="1121430" y="450910"/>
                  </a:lnTo>
                  <a:lnTo>
                    <a:pt x="1132234" y="457200"/>
                  </a:lnTo>
                  <a:lnTo>
                    <a:pt x="1411634" y="387350"/>
                  </a:lnTo>
                  <a:lnTo>
                    <a:pt x="1665634" y="234950"/>
                  </a:lnTo>
                  <a:lnTo>
                    <a:pt x="1652934" y="152400"/>
                  </a:lnTo>
                  <a:lnTo>
                    <a:pt x="1684684" y="101601"/>
                  </a:lnTo>
                  <a:lnTo>
                    <a:pt x="1748184" y="101601"/>
                  </a:lnTo>
                  <a:lnTo>
                    <a:pt x="1786284" y="196850"/>
                  </a:lnTo>
                  <a:lnTo>
                    <a:pt x="1938684" y="234950"/>
                  </a:lnTo>
                  <a:lnTo>
                    <a:pt x="2033934" y="330200"/>
                  </a:lnTo>
                  <a:lnTo>
                    <a:pt x="1983134" y="387350"/>
                  </a:lnTo>
                  <a:lnTo>
                    <a:pt x="1964084" y="527050"/>
                  </a:lnTo>
                  <a:lnTo>
                    <a:pt x="2072034" y="571500"/>
                  </a:lnTo>
                  <a:lnTo>
                    <a:pt x="2059334" y="660400"/>
                  </a:lnTo>
                  <a:lnTo>
                    <a:pt x="1951384" y="679450"/>
                  </a:lnTo>
                  <a:lnTo>
                    <a:pt x="2008534" y="768350"/>
                  </a:lnTo>
                  <a:lnTo>
                    <a:pt x="2122834" y="704850"/>
                  </a:lnTo>
                  <a:lnTo>
                    <a:pt x="2167284" y="730250"/>
                  </a:lnTo>
                  <a:lnTo>
                    <a:pt x="2300634" y="603250"/>
                  </a:lnTo>
                  <a:lnTo>
                    <a:pt x="2395884" y="654050"/>
                  </a:lnTo>
                  <a:lnTo>
                    <a:pt x="2548284" y="527050"/>
                  </a:lnTo>
                  <a:lnTo>
                    <a:pt x="2459384" y="520700"/>
                  </a:lnTo>
                  <a:lnTo>
                    <a:pt x="2491134" y="273050"/>
                  </a:lnTo>
                  <a:lnTo>
                    <a:pt x="2376834" y="203200"/>
                  </a:lnTo>
                  <a:lnTo>
                    <a:pt x="2345084" y="127001"/>
                  </a:lnTo>
                  <a:lnTo>
                    <a:pt x="2472084" y="120650"/>
                  </a:lnTo>
                  <a:lnTo>
                    <a:pt x="2541934" y="50800"/>
                  </a:lnTo>
                  <a:lnTo>
                    <a:pt x="2618134" y="44450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" name="_Map_Hessen">
              <a:extLst>
                <a:ext uri="{FF2B5EF4-FFF2-40B4-BE49-F238E27FC236}">
                  <a16:creationId xmlns:a16="http://schemas.microsoft.com/office/drawing/2014/main" id="{E49BB71C-040F-40FC-8C58-05D72FF8856F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1085466" y="3722245"/>
              <a:ext cx="817756" cy="1173596"/>
            </a:xfrm>
            <a:custGeom>
              <a:avLst/>
              <a:gdLst>
                <a:gd name="connsiteX0" fmla="*/ 1553888 w 2279650"/>
                <a:gd name="connsiteY0" fmla="*/ 0 h 3271623"/>
                <a:gd name="connsiteX1" fmla="*/ 1674218 w 2279650"/>
                <a:gd name="connsiteY1" fmla="*/ 13752 h 3271623"/>
                <a:gd name="connsiteX2" fmla="*/ 1737718 w 2279650"/>
                <a:gd name="connsiteY2" fmla="*/ 96302 h 3271623"/>
                <a:gd name="connsiteX3" fmla="*/ 1667868 w 2279650"/>
                <a:gd name="connsiteY3" fmla="*/ 191552 h 3271623"/>
                <a:gd name="connsiteX4" fmla="*/ 1705968 w 2279650"/>
                <a:gd name="connsiteY4" fmla="*/ 350302 h 3271623"/>
                <a:gd name="connsiteX5" fmla="*/ 1623418 w 2279650"/>
                <a:gd name="connsiteY5" fmla="*/ 420152 h 3271623"/>
                <a:gd name="connsiteX6" fmla="*/ 1725018 w 2279650"/>
                <a:gd name="connsiteY6" fmla="*/ 521752 h 3271623"/>
                <a:gd name="connsiteX7" fmla="*/ 1794868 w 2279650"/>
                <a:gd name="connsiteY7" fmla="*/ 496352 h 3271623"/>
                <a:gd name="connsiteX8" fmla="*/ 1763118 w 2279650"/>
                <a:gd name="connsiteY8" fmla="*/ 426502 h 3271623"/>
                <a:gd name="connsiteX9" fmla="*/ 1871068 w 2279650"/>
                <a:gd name="connsiteY9" fmla="*/ 363002 h 3271623"/>
                <a:gd name="connsiteX10" fmla="*/ 1979018 w 2279650"/>
                <a:gd name="connsiteY10" fmla="*/ 407452 h 3271623"/>
                <a:gd name="connsiteX11" fmla="*/ 2250364 w 2279650"/>
                <a:gd name="connsiteY11" fmla="*/ 255498 h 3271623"/>
                <a:gd name="connsiteX12" fmla="*/ 2250365 w 2279650"/>
                <a:gd name="connsiteY12" fmla="*/ 255499 h 3271623"/>
                <a:gd name="connsiteX13" fmla="*/ 1995175 w 2279650"/>
                <a:gd name="connsiteY13" fmla="*/ 398405 h 3271623"/>
                <a:gd name="connsiteX14" fmla="*/ 2000250 w 2279650"/>
                <a:gd name="connsiteY14" fmla="*/ 407774 h 3271623"/>
                <a:gd name="connsiteX15" fmla="*/ 2025650 w 2279650"/>
                <a:gd name="connsiteY15" fmla="*/ 541124 h 3271623"/>
                <a:gd name="connsiteX16" fmla="*/ 2120900 w 2279650"/>
                <a:gd name="connsiteY16" fmla="*/ 572874 h 3271623"/>
                <a:gd name="connsiteX17" fmla="*/ 2146300 w 2279650"/>
                <a:gd name="connsiteY17" fmla="*/ 661774 h 3271623"/>
                <a:gd name="connsiteX18" fmla="*/ 2279650 w 2279650"/>
                <a:gd name="connsiteY18" fmla="*/ 706224 h 3271623"/>
                <a:gd name="connsiteX19" fmla="*/ 2254250 w 2279650"/>
                <a:gd name="connsiteY19" fmla="*/ 788774 h 3271623"/>
                <a:gd name="connsiteX20" fmla="*/ 2171700 w 2279650"/>
                <a:gd name="connsiteY20" fmla="*/ 763374 h 3271623"/>
                <a:gd name="connsiteX21" fmla="*/ 2222500 w 2279650"/>
                <a:gd name="connsiteY21" fmla="*/ 820524 h 3271623"/>
                <a:gd name="connsiteX22" fmla="*/ 2197100 w 2279650"/>
                <a:gd name="connsiteY22" fmla="*/ 871324 h 3271623"/>
                <a:gd name="connsiteX23" fmla="*/ 2279650 w 2279650"/>
                <a:gd name="connsiteY23" fmla="*/ 947524 h 3271623"/>
                <a:gd name="connsiteX24" fmla="*/ 2241550 w 2279650"/>
                <a:gd name="connsiteY24" fmla="*/ 985624 h 3271623"/>
                <a:gd name="connsiteX25" fmla="*/ 2165350 w 2279650"/>
                <a:gd name="connsiteY25" fmla="*/ 966574 h 3271623"/>
                <a:gd name="connsiteX26" fmla="*/ 2076450 w 2279650"/>
                <a:gd name="connsiteY26" fmla="*/ 972924 h 3271623"/>
                <a:gd name="connsiteX27" fmla="*/ 2108200 w 2279650"/>
                <a:gd name="connsiteY27" fmla="*/ 1068174 h 3271623"/>
                <a:gd name="connsiteX28" fmla="*/ 2025650 w 2279650"/>
                <a:gd name="connsiteY28" fmla="*/ 1068174 h 3271623"/>
                <a:gd name="connsiteX29" fmla="*/ 2025650 w 2279650"/>
                <a:gd name="connsiteY29" fmla="*/ 1125324 h 3271623"/>
                <a:gd name="connsiteX30" fmla="*/ 2063750 w 2279650"/>
                <a:gd name="connsiteY30" fmla="*/ 1125324 h 3271623"/>
                <a:gd name="connsiteX31" fmla="*/ 2108200 w 2279650"/>
                <a:gd name="connsiteY31" fmla="*/ 1138024 h 3271623"/>
                <a:gd name="connsiteX32" fmla="*/ 2101850 w 2279650"/>
                <a:gd name="connsiteY32" fmla="*/ 1226924 h 3271623"/>
                <a:gd name="connsiteX33" fmla="*/ 2019300 w 2279650"/>
                <a:gd name="connsiteY33" fmla="*/ 1239624 h 3271623"/>
                <a:gd name="connsiteX34" fmla="*/ 1936750 w 2279650"/>
                <a:gd name="connsiteY34" fmla="*/ 1487274 h 3271623"/>
                <a:gd name="connsiteX35" fmla="*/ 1993900 w 2279650"/>
                <a:gd name="connsiteY35" fmla="*/ 1544424 h 3271623"/>
                <a:gd name="connsiteX36" fmla="*/ 2044700 w 2279650"/>
                <a:gd name="connsiteY36" fmla="*/ 1531724 h 3271623"/>
                <a:gd name="connsiteX37" fmla="*/ 2032000 w 2279650"/>
                <a:gd name="connsiteY37" fmla="*/ 1480924 h 3271623"/>
                <a:gd name="connsiteX38" fmla="*/ 2108200 w 2279650"/>
                <a:gd name="connsiteY38" fmla="*/ 1474574 h 3271623"/>
                <a:gd name="connsiteX39" fmla="*/ 2146300 w 2279650"/>
                <a:gd name="connsiteY39" fmla="*/ 1525374 h 3271623"/>
                <a:gd name="connsiteX40" fmla="*/ 2108200 w 2279650"/>
                <a:gd name="connsiteY40" fmla="*/ 1563474 h 3271623"/>
                <a:gd name="connsiteX41" fmla="*/ 2103467 w 2279650"/>
                <a:gd name="connsiteY41" fmla="*/ 1700749 h 3271623"/>
                <a:gd name="connsiteX42" fmla="*/ 2076450 w 2279650"/>
                <a:gd name="connsiteY42" fmla="*/ 1741273 h 3271623"/>
                <a:gd name="connsiteX43" fmla="*/ 1936750 w 2279650"/>
                <a:gd name="connsiteY43" fmla="*/ 1836523 h 3271623"/>
                <a:gd name="connsiteX44" fmla="*/ 1841500 w 2279650"/>
                <a:gd name="connsiteY44" fmla="*/ 1785723 h 3271623"/>
                <a:gd name="connsiteX45" fmla="*/ 1803400 w 2279650"/>
                <a:gd name="connsiteY45" fmla="*/ 1988923 h 3271623"/>
                <a:gd name="connsiteX46" fmla="*/ 1720850 w 2279650"/>
                <a:gd name="connsiteY46" fmla="*/ 2090523 h 3271623"/>
                <a:gd name="connsiteX47" fmla="*/ 1612900 w 2279650"/>
                <a:gd name="connsiteY47" fmla="*/ 2077823 h 3271623"/>
                <a:gd name="connsiteX48" fmla="*/ 1612900 w 2279650"/>
                <a:gd name="connsiteY48" fmla="*/ 2185773 h 3271623"/>
                <a:gd name="connsiteX49" fmla="*/ 1619250 w 2279650"/>
                <a:gd name="connsiteY49" fmla="*/ 2274673 h 3271623"/>
                <a:gd name="connsiteX50" fmla="*/ 1492250 w 2279650"/>
                <a:gd name="connsiteY50" fmla="*/ 2274673 h 3271623"/>
                <a:gd name="connsiteX51" fmla="*/ 1492250 w 2279650"/>
                <a:gd name="connsiteY51" fmla="*/ 2223873 h 3271623"/>
                <a:gd name="connsiteX52" fmla="*/ 1339850 w 2279650"/>
                <a:gd name="connsiteY52" fmla="*/ 2223873 h 3271623"/>
                <a:gd name="connsiteX53" fmla="*/ 1250950 w 2279650"/>
                <a:gd name="connsiteY53" fmla="*/ 2281023 h 3271623"/>
                <a:gd name="connsiteX54" fmla="*/ 1231900 w 2279650"/>
                <a:gd name="connsiteY54" fmla="*/ 2230223 h 3271623"/>
                <a:gd name="connsiteX55" fmla="*/ 1123950 w 2279650"/>
                <a:gd name="connsiteY55" fmla="*/ 2249273 h 3271623"/>
                <a:gd name="connsiteX56" fmla="*/ 1123950 w 2279650"/>
                <a:gd name="connsiteY56" fmla="*/ 2350873 h 3271623"/>
                <a:gd name="connsiteX57" fmla="*/ 1155700 w 2279650"/>
                <a:gd name="connsiteY57" fmla="*/ 2427073 h 3271623"/>
                <a:gd name="connsiteX58" fmla="*/ 1149350 w 2279650"/>
                <a:gd name="connsiteY58" fmla="*/ 2642973 h 3271623"/>
                <a:gd name="connsiteX59" fmla="*/ 1206500 w 2279650"/>
                <a:gd name="connsiteY59" fmla="*/ 2668373 h 3271623"/>
                <a:gd name="connsiteX60" fmla="*/ 1270000 w 2279650"/>
                <a:gd name="connsiteY60" fmla="*/ 2769973 h 3271623"/>
                <a:gd name="connsiteX61" fmla="*/ 1193800 w 2279650"/>
                <a:gd name="connsiteY61" fmla="*/ 2909673 h 3271623"/>
                <a:gd name="connsiteX62" fmla="*/ 1193800 w 2279650"/>
                <a:gd name="connsiteY62" fmla="*/ 3036673 h 3271623"/>
                <a:gd name="connsiteX63" fmla="*/ 1244600 w 2279650"/>
                <a:gd name="connsiteY63" fmla="*/ 3119223 h 3271623"/>
                <a:gd name="connsiteX64" fmla="*/ 1098550 w 2279650"/>
                <a:gd name="connsiteY64" fmla="*/ 3138273 h 3271623"/>
                <a:gd name="connsiteX65" fmla="*/ 1079500 w 2279650"/>
                <a:gd name="connsiteY65" fmla="*/ 3208123 h 3271623"/>
                <a:gd name="connsiteX66" fmla="*/ 952500 w 2279650"/>
                <a:gd name="connsiteY66" fmla="*/ 3271623 h 3271623"/>
                <a:gd name="connsiteX67" fmla="*/ 990600 w 2279650"/>
                <a:gd name="connsiteY67" fmla="*/ 3138273 h 3271623"/>
                <a:gd name="connsiteX68" fmla="*/ 933450 w 2279650"/>
                <a:gd name="connsiteY68" fmla="*/ 3100173 h 3271623"/>
                <a:gd name="connsiteX69" fmla="*/ 857250 w 2279650"/>
                <a:gd name="connsiteY69" fmla="*/ 3112873 h 3271623"/>
                <a:gd name="connsiteX70" fmla="*/ 850900 w 2279650"/>
                <a:gd name="connsiteY70" fmla="*/ 2973173 h 3271623"/>
                <a:gd name="connsiteX71" fmla="*/ 755650 w 2279650"/>
                <a:gd name="connsiteY71" fmla="*/ 2985873 h 3271623"/>
                <a:gd name="connsiteX72" fmla="*/ 762000 w 2279650"/>
                <a:gd name="connsiteY72" fmla="*/ 3093823 h 3271623"/>
                <a:gd name="connsiteX73" fmla="*/ 698500 w 2279650"/>
                <a:gd name="connsiteY73" fmla="*/ 3112873 h 3271623"/>
                <a:gd name="connsiteX74" fmla="*/ 584200 w 2279650"/>
                <a:gd name="connsiteY74" fmla="*/ 3049373 h 3271623"/>
                <a:gd name="connsiteX75" fmla="*/ 514350 w 2279650"/>
                <a:gd name="connsiteY75" fmla="*/ 2871573 h 3271623"/>
                <a:gd name="connsiteX76" fmla="*/ 635000 w 2279650"/>
                <a:gd name="connsiteY76" fmla="*/ 2757273 h 3271623"/>
                <a:gd name="connsiteX77" fmla="*/ 577850 w 2279650"/>
                <a:gd name="connsiteY77" fmla="*/ 2744573 h 3271623"/>
                <a:gd name="connsiteX78" fmla="*/ 533400 w 2279650"/>
                <a:gd name="connsiteY78" fmla="*/ 2598523 h 3271623"/>
                <a:gd name="connsiteX79" fmla="*/ 431800 w 2279650"/>
                <a:gd name="connsiteY79" fmla="*/ 2388973 h 3271623"/>
                <a:gd name="connsiteX80" fmla="*/ 241300 w 2279650"/>
                <a:gd name="connsiteY80" fmla="*/ 2414373 h 3271623"/>
                <a:gd name="connsiteX81" fmla="*/ 101600 w 2279650"/>
                <a:gd name="connsiteY81" fmla="*/ 2452473 h 3271623"/>
                <a:gd name="connsiteX82" fmla="*/ 0 w 2279650"/>
                <a:gd name="connsiteY82" fmla="*/ 2325473 h 3271623"/>
                <a:gd name="connsiteX83" fmla="*/ 57150 w 2279650"/>
                <a:gd name="connsiteY83" fmla="*/ 2242923 h 3271623"/>
                <a:gd name="connsiteX84" fmla="*/ 127000 w 2279650"/>
                <a:gd name="connsiteY84" fmla="*/ 2255623 h 3271623"/>
                <a:gd name="connsiteX85" fmla="*/ 82550 w 2279650"/>
                <a:gd name="connsiteY85" fmla="*/ 2160373 h 3271623"/>
                <a:gd name="connsiteX86" fmla="*/ 171450 w 2279650"/>
                <a:gd name="connsiteY86" fmla="*/ 2096873 h 3271623"/>
                <a:gd name="connsiteX87" fmla="*/ 247650 w 2279650"/>
                <a:gd name="connsiteY87" fmla="*/ 2103223 h 3271623"/>
                <a:gd name="connsiteX88" fmla="*/ 222250 w 2279650"/>
                <a:gd name="connsiteY88" fmla="*/ 2027023 h 3271623"/>
                <a:gd name="connsiteX89" fmla="*/ 336550 w 2279650"/>
                <a:gd name="connsiteY89" fmla="*/ 2027023 h 3271623"/>
                <a:gd name="connsiteX90" fmla="*/ 279400 w 2279650"/>
                <a:gd name="connsiteY90" fmla="*/ 1944473 h 3271623"/>
                <a:gd name="connsiteX91" fmla="*/ 139700 w 2279650"/>
                <a:gd name="connsiteY91" fmla="*/ 1830173 h 3271623"/>
                <a:gd name="connsiteX92" fmla="*/ 184150 w 2279650"/>
                <a:gd name="connsiteY92" fmla="*/ 1690473 h 3271623"/>
                <a:gd name="connsiteX93" fmla="*/ 228600 w 2279650"/>
                <a:gd name="connsiteY93" fmla="*/ 1595223 h 3271623"/>
                <a:gd name="connsiteX94" fmla="*/ 311150 w 2279650"/>
                <a:gd name="connsiteY94" fmla="*/ 1646023 h 3271623"/>
                <a:gd name="connsiteX95" fmla="*/ 317500 w 2279650"/>
                <a:gd name="connsiteY95" fmla="*/ 1538073 h 3271623"/>
                <a:gd name="connsiteX96" fmla="*/ 304800 w 2279650"/>
                <a:gd name="connsiteY96" fmla="*/ 1436473 h 3271623"/>
                <a:gd name="connsiteX97" fmla="*/ 297150 w 2279650"/>
                <a:gd name="connsiteY97" fmla="*/ 1428313 h 3271623"/>
                <a:gd name="connsiteX98" fmla="*/ 311151 w 2279650"/>
                <a:gd name="connsiteY98" fmla="*/ 1426313 h 3271623"/>
                <a:gd name="connsiteX99" fmla="*/ 273051 w 2279650"/>
                <a:gd name="connsiteY99" fmla="*/ 1289153 h 3271623"/>
                <a:gd name="connsiteX100" fmla="*/ 410211 w 2279650"/>
                <a:gd name="connsiteY100" fmla="*/ 1144373 h 3271623"/>
                <a:gd name="connsiteX101" fmla="*/ 509271 w 2279650"/>
                <a:gd name="connsiteY101" fmla="*/ 1197713 h 3271623"/>
                <a:gd name="connsiteX102" fmla="*/ 570231 w 2279650"/>
                <a:gd name="connsiteY102" fmla="*/ 1113893 h 3271623"/>
                <a:gd name="connsiteX103" fmla="*/ 638811 w 2279650"/>
                <a:gd name="connsiteY103" fmla="*/ 923393 h 3271623"/>
                <a:gd name="connsiteX104" fmla="*/ 638811 w 2279650"/>
                <a:gd name="connsiteY104" fmla="*/ 847193 h 3271623"/>
                <a:gd name="connsiteX105" fmla="*/ 821691 w 2279650"/>
                <a:gd name="connsiteY105" fmla="*/ 847193 h 3271623"/>
                <a:gd name="connsiteX106" fmla="*/ 890271 w 2279650"/>
                <a:gd name="connsiteY106" fmla="*/ 656693 h 3271623"/>
                <a:gd name="connsiteX107" fmla="*/ 836931 w 2279650"/>
                <a:gd name="connsiteY107" fmla="*/ 557633 h 3271623"/>
                <a:gd name="connsiteX108" fmla="*/ 737871 w 2279650"/>
                <a:gd name="connsiteY108" fmla="*/ 618593 h 3271623"/>
                <a:gd name="connsiteX109" fmla="*/ 661671 w 2279650"/>
                <a:gd name="connsiteY109" fmla="*/ 565253 h 3271623"/>
                <a:gd name="connsiteX110" fmla="*/ 821691 w 2279650"/>
                <a:gd name="connsiteY110" fmla="*/ 397613 h 3271623"/>
                <a:gd name="connsiteX111" fmla="*/ 1050291 w 2279650"/>
                <a:gd name="connsiteY111" fmla="*/ 397613 h 3271623"/>
                <a:gd name="connsiteX112" fmla="*/ 1042671 w 2279650"/>
                <a:gd name="connsiteY112" fmla="*/ 321413 h 3271623"/>
                <a:gd name="connsiteX113" fmla="*/ 1019811 w 2279650"/>
                <a:gd name="connsiteY113" fmla="*/ 245213 h 3271623"/>
                <a:gd name="connsiteX114" fmla="*/ 1118871 w 2279650"/>
                <a:gd name="connsiteY114" fmla="*/ 191873 h 3271623"/>
                <a:gd name="connsiteX115" fmla="*/ 1164591 w 2279650"/>
                <a:gd name="connsiteY115" fmla="*/ 222353 h 3271623"/>
                <a:gd name="connsiteX116" fmla="*/ 1179831 w 2279650"/>
                <a:gd name="connsiteY116" fmla="*/ 298553 h 3271623"/>
                <a:gd name="connsiteX117" fmla="*/ 1248411 w 2279650"/>
                <a:gd name="connsiteY117" fmla="*/ 283313 h 3271623"/>
                <a:gd name="connsiteX118" fmla="*/ 1469391 w 2279650"/>
                <a:gd name="connsiteY118" fmla="*/ 62333 h 3271623"/>
                <a:gd name="connsiteX119" fmla="*/ 1431291 w 2279650"/>
                <a:gd name="connsiteY119" fmla="*/ 31853 h 3271623"/>
                <a:gd name="connsiteX120" fmla="*/ 1522731 w 2279650"/>
                <a:gd name="connsiteY120" fmla="*/ 24233 h 3271623"/>
                <a:gd name="connsiteX0" fmla="*/ 1553888 w 2279650"/>
                <a:gd name="connsiteY0" fmla="*/ 0 h 3271623"/>
                <a:gd name="connsiteX1" fmla="*/ 1674218 w 2279650"/>
                <a:gd name="connsiteY1" fmla="*/ 13752 h 3271623"/>
                <a:gd name="connsiteX2" fmla="*/ 1737718 w 2279650"/>
                <a:gd name="connsiteY2" fmla="*/ 96302 h 3271623"/>
                <a:gd name="connsiteX3" fmla="*/ 1667868 w 2279650"/>
                <a:gd name="connsiteY3" fmla="*/ 191552 h 3271623"/>
                <a:gd name="connsiteX4" fmla="*/ 1705968 w 2279650"/>
                <a:gd name="connsiteY4" fmla="*/ 350302 h 3271623"/>
                <a:gd name="connsiteX5" fmla="*/ 1623418 w 2279650"/>
                <a:gd name="connsiteY5" fmla="*/ 420152 h 3271623"/>
                <a:gd name="connsiteX6" fmla="*/ 1725018 w 2279650"/>
                <a:gd name="connsiteY6" fmla="*/ 521752 h 3271623"/>
                <a:gd name="connsiteX7" fmla="*/ 1794868 w 2279650"/>
                <a:gd name="connsiteY7" fmla="*/ 496352 h 3271623"/>
                <a:gd name="connsiteX8" fmla="*/ 1763118 w 2279650"/>
                <a:gd name="connsiteY8" fmla="*/ 426502 h 3271623"/>
                <a:gd name="connsiteX9" fmla="*/ 1871068 w 2279650"/>
                <a:gd name="connsiteY9" fmla="*/ 363002 h 3271623"/>
                <a:gd name="connsiteX10" fmla="*/ 1979018 w 2279650"/>
                <a:gd name="connsiteY10" fmla="*/ 407452 h 3271623"/>
                <a:gd name="connsiteX11" fmla="*/ 2250364 w 2279650"/>
                <a:gd name="connsiteY11" fmla="*/ 255498 h 3271623"/>
                <a:gd name="connsiteX12" fmla="*/ 1995175 w 2279650"/>
                <a:gd name="connsiteY12" fmla="*/ 398405 h 3271623"/>
                <a:gd name="connsiteX13" fmla="*/ 2000250 w 2279650"/>
                <a:gd name="connsiteY13" fmla="*/ 407774 h 3271623"/>
                <a:gd name="connsiteX14" fmla="*/ 2025650 w 2279650"/>
                <a:gd name="connsiteY14" fmla="*/ 541124 h 3271623"/>
                <a:gd name="connsiteX15" fmla="*/ 2120900 w 2279650"/>
                <a:gd name="connsiteY15" fmla="*/ 572874 h 3271623"/>
                <a:gd name="connsiteX16" fmla="*/ 2146300 w 2279650"/>
                <a:gd name="connsiteY16" fmla="*/ 661774 h 3271623"/>
                <a:gd name="connsiteX17" fmla="*/ 2279650 w 2279650"/>
                <a:gd name="connsiteY17" fmla="*/ 706224 h 3271623"/>
                <a:gd name="connsiteX18" fmla="*/ 2254250 w 2279650"/>
                <a:gd name="connsiteY18" fmla="*/ 788774 h 3271623"/>
                <a:gd name="connsiteX19" fmla="*/ 2171700 w 2279650"/>
                <a:gd name="connsiteY19" fmla="*/ 763374 h 3271623"/>
                <a:gd name="connsiteX20" fmla="*/ 2222500 w 2279650"/>
                <a:gd name="connsiteY20" fmla="*/ 820524 h 3271623"/>
                <a:gd name="connsiteX21" fmla="*/ 2197100 w 2279650"/>
                <a:gd name="connsiteY21" fmla="*/ 871324 h 3271623"/>
                <a:gd name="connsiteX22" fmla="*/ 2279650 w 2279650"/>
                <a:gd name="connsiteY22" fmla="*/ 947524 h 3271623"/>
                <a:gd name="connsiteX23" fmla="*/ 2241550 w 2279650"/>
                <a:gd name="connsiteY23" fmla="*/ 985624 h 3271623"/>
                <a:gd name="connsiteX24" fmla="*/ 2165350 w 2279650"/>
                <a:gd name="connsiteY24" fmla="*/ 966574 h 3271623"/>
                <a:gd name="connsiteX25" fmla="*/ 2076450 w 2279650"/>
                <a:gd name="connsiteY25" fmla="*/ 972924 h 3271623"/>
                <a:gd name="connsiteX26" fmla="*/ 2108200 w 2279650"/>
                <a:gd name="connsiteY26" fmla="*/ 1068174 h 3271623"/>
                <a:gd name="connsiteX27" fmla="*/ 2025650 w 2279650"/>
                <a:gd name="connsiteY27" fmla="*/ 1068174 h 3271623"/>
                <a:gd name="connsiteX28" fmla="*/ 2025650 w 2279650"/>
                <a:gd name="connsiteY28" fmla="*/ 1125324 h 3271623"/>
                <a:gd name="connsiteX29" fmla="*/ 2063750 w 2279650"/>
                <a:gd name="connsiteY29" fmla="*/ 1125324 h 3271623"/>
                <a:gd name="connsiteX30" fmla="*/ 2108200 w 2279650"/>
                <a:gd name="connsiteY30" fmla="*/ 1138024 h 3271623"/>
                <a:gd name="connsiteX31" fmla="*/ 2101850 w 2279650"/>
                <a:gd name="connsiteY31" fmla="*/ 1226924 h 3271623"/>
                <a:gd name="connsiteX32" fmla="*/ 2019300 w 2279650"/>
                <a:gd name="connsiteY32" fmla="*/ 1239624 h 3271623"/>
                <a:gd name="connsiteX33" fmla="*/ 1936750 w 2279650"/>
                <a:gd name="connsiteY33" fmla="*/ 1487274 h 3271623"/>
                <a:gd name="connsiteX34" fmla="*/ 1993900 w 2279650"/>
                <a:gd name="connsiteY34" fmla="*/ 1544424 h 3271623"/>
                <a:gd name="connsiteX35" fmla="*/ 2044700 w 2279650"/>
                <a:gd name="connsiteY35" fmla="*/ 1531724 h 3271623"/>
                <a:gd name="connsiteX36" fmla="*/ 2032000 w 2279650"/>
                <a:gd name="connsiteY36" fmla="*/ 1480924 h 3271623"/>
                <a:gd name="connsiteX37" fmla="*/ 2108200 w 2279650"/>
                <a:gd name="connsiteY37" fmla="*/ 1474574 h 3271623"/>
                <a:gd name="connsiteX38" fmla="*/ 2146300 w 2279650"/>
                <a:gd name="connsiteY38" fmla="*/ 1525374 h 3271623"/>
                <a:gd name="connsiteX39" fmla="*/ 2108200 w 2279650"/>
                <a:gd name="connsiteY39" fmla="*/ 1563474 h 3271623"/>
                <a:gd name="connsiteX40" fmla="*/ 2103467 w 2279650"/>
                <a:gd name="connsiteY40" fmla="*/ 1700749 h 3271623"/>
                <a:gd name="connsiteX41" fmla="*/ 2076450 w 2279650"/>
                <a:gd name="connsiteY41" fmla="*/ 1741273 h 3271623"/>
                <a:gd name="connsiteX42" fmla="*/ 1936750 w 2279650"/>
                <a:gd name="connsiteY42" fmla="*/ 1836523 h 3271623"/>
                <a:gd name="connsiteX43" fmla="*/ 1841500 w 2279650"/>
                <a:gd name="connsiteY43" fmla="*/ 1785723 h 3271623"/>
                <a:gd name="connsiteX44" fmla="*/ 1803400 w 2279650"/>
                <a:gd name="connsiteY44" fmla="*/ 1988923 h 3271623"/>
                <a:gd name="connsiteX45" fmla="*/ 1720850 w 2279650"/>
                <a:gd name="connsiteY45" fmla="*/ 2090523 h 3271623"/>
                <a:gd name="connsiteX46" fmla="*/ 1612900 w 2279650"/>
                <a:gd name="connsiteY46" fmla="*/ 2077823 h 3271623"/>
                <a:gd name="connsiteX47" fmla="*/ 1612900 w 2279650"/>
                <a:gd name="connsiteY47" fmla="*/ 2185773 h 3271623"/>
                <a:gd name="connsiteX48" fmla="*/ 1619250 w 2279650"/>
                <a:gd name="connsiteY48" fmla="*/ 2274673 h 3271623"/>
                <a:gd name="connsiteX49" fmla="*/ 1492250 w 2279650"/>
                <a:gd name="connsiteY49" fmla="*/ 2274673 h 3271623"/>
                <a:gd name="connsiteX50" fmla="*/ 1492250 w 2279650"/>
                <a:gd name="connsiteY50" fmla="*/ 2223873 h 3271623"/>
                <a:gd name="connsiteX51" fmla="*/ 1339850 w 2279650"/>
                <a:gd name="connsiteY51" fmla="*/ 2223873 h 3271623"/>
                <a:gd name="connsiteX52" fmla="*/ 1250950 w 2279650"/>
                <a:gd name="connsiteY52" fmla="*/ 2281023 h 3271623"/>
                <a:gd name="connsiteX53" fmla="*/ 1231900 w 2279650"/>
                <a:gd name="connsiteY53" fmla="*/ 2230223 h 3271623"/>
                <a:gd name="connsiteX54" fmla="*/ 1123950 w 2279650"/>
                <a:gd name="connsiteY54" fmla="*/ 2249273 h 3271623"/>
                <a:gd name="connsiteX55" fmla="*/ 1123950 w 2279650"/>
                <a:gd name="connsiteY55" fmla="*/ 2350873 h 3271623"/>
                <a:gd name="connsiteX56" fmla="*/ 1155700 w 2279650"/>
                <a:gd name="connsiteY56" fmla="*/ 2427073 h 3271623"/>
                <a:gd name="connsiteX57" fmla="*/ 1149350 w 2279650"/>
                <a:gd name="connsiteY57" fmla="*/ 2642973 h 3271623"/>
                <a:gd name="connsiteX58" fmla="*/ 1206500 w 2279650"/>
                <a:gd name="connsiteY58" fmla="*/ 2668373 h 3271623"/>
                <a:gd name="connsiteX59" fmla="*/ 1270000 w 2279650"/>
                <a:gd name="connsiteY59" fmla="*/ 2769973 h 3271623"/>
                <a:gd name="connsiteX60" fmla="*/ 1193800 w 2279650"/>
                <a:gd name="connsiteY60" fmla="*/ 2909673 h 3271623"/>
                <a:gd name="connsiteX61" fmla="*/ 1193800 w 2279650"/>
                <a:gd name="connsiteY61" fmla="*/ 3036673 h 3271623"/>
                <a:gd name="connsiteX62" fmla="*/ 1244600 w 2279650"/>
                <a:gd name="connsiteY62" fmla="*/ 3119223 h 3271623"/>
                <a:gd name="connsiteX63" fmla="*/ 1098550 w 2279650"/>
                <a:gd name="connsiteY63" fmla="*/ 3138273 h 3271623"/>
                <a:gd name="connsiteX64" fmla="*/ 1079500 w 2279650"/>
                <a:gd name="connsiteY64" fmla="*/ 3208123 h 3271623"/>
                <a:gd name="connsiteX65" fmla="*/ 952500 w 2279650"/>
                <a:gd name="connsiteY65" fmla="*/ 3271623 h 3271623"/>
                <a:gd name="connsiteX66" fmla="*/ 990600 w 2279650"/>
                <a:gd name="connsiteY66" fmla="*/ 3138273 h 3271623"/>
                <a:gd name="connsiteX67" fmla="*/ 933450 w 2279650"/>
                <a:gd name="connsiteY67" fmla="*/ 3100173 h 3271623"/>
                <a:gd name="connsiteX68" fmla="*/ 857250 w 2279650"/>
                <a:gd name="connsiteY68" fmla="*/ 3112873 h 3271623"/>
                <a:gd name="connsiteX69" fmla="*/ 850900 w 2279650"/>
                <a:gd name="connsiteY69" fmla="*/ 2973173 h 3271623"/>
                <a:gd name="connsiteX70" fmla="*/ 755650 w 2279650"/>
                <a:gd name="connsiteY70" fmla="*/ 2985873 h 3271623"/>
                <a:gd name="connsiteX71" fmla="*/ 762000 w 2279650"/>
                <a:gd name="connsiteY71" fmla="*/ 3093823 h 3271623"/>
                <a:gd name="connsiteX72" fmla="*/ 698500 w 2279650"/>
                <a:gd name="connsiteY72" fmla="*/ 3112873 h 3271623"/>
                <a:gd name="connsiteX73" fmla="*/ 584200 w 2279650"/>
                <a:gd name="connsiteY73" fmla="*/ 3049373 h 3271623"/>
                <a:gd name="connsiteX74" fmla="*/ 514350 w 2279650"/>
                <a:gd name="connsiteY74" fmla="*/ 2871573 h 3271623"/>
                <a:gd name="connsiteX75" fmla="*/ 635000 w 2279650"/>
                <a:gd name="connsiteY75" fmla="*/ 2757273 h 3271623"/>
                <a:gd name="connsiteX76" fmla="*/ 577850 w 2279650"/>
                <a:gd name="connsiteY76" fmla="*/ 2744573 h 3271623"/>
                <a:gd name="connsiteX77" fmla="*/ 533400 w 2279650"/>
                <a:gd name="connsiteY77" fmla="*/ 2598523 h 3271623"/>
                <a:gd name="connsiteX78" fmla="*/ 431800 w 2279650"/>
                <a:gd name="connsiteY78" fmla="*/ 2388973 h 3271623"/>
                <a:gd name="connsiteX79" fmla="*/ 241300 w 2279650"/>
                <a:gd name="connsiteY79" fmla="*/ 2414373 h 3271623"/>
                <a:gd name="connsiteX80" fmla="*/ 101600 w 2279650"/>
                <a:gd name="connsiteY80" fmla="*/ 2452473 h 3271623"/>
                <a:gd name="connsiteX81" fmla="*/ 0 w 2279650"/>
                <a:gd name="connsiteY81" fmla="*/ 2325473 h 3271623"/>
                <a:gd name="connsiteX82" fmla="*/ 57150 w 2279650"/>
                <a:gd name="connsiteY82" fmla="*/ 2242923 h 3271623"/>
                <a:gd name="connsiteX83" fmla="*/ 127000 w 2279650"/>
                <a:gd name="connsiteY83" fmla="*/ 2255623 h 3271623"/>
                <a:gd name="connsiteX84" fmla="*/ 82550 w 2279650"/>
                <a:gd name="connsiteY84" fmla="*/ 2160373 h 3271623"/>
                <a:gd name="connsiteX85" fmla="*/ 171450 w 2279650"/>
                <a:gd name="connsiteY85" fmla="*/ 2096873 h 3271623"/>
                <a:gd name="connsiteX86" fmla="*/ 247650 w 2279650"/>
                <a:gd name="connsiteY86" fmla="*/ 2103223 h 3271623"/>
                <a:gd name="connsiteX87" fmla="*/ 222250 w 2279650"/>
                <a:gd name="connsiteY87" fmla="*/ 2027023 h 3271623"/>
                <a:gd name="connsiteX88" fmla="*/ 336550 w 2279650"/>
                <a:gd name="connsiteY88" fmla="*/ 2027023 h 3271623"/>
                <a:gd name="connsiteX89" fmla="*/ 279400 w 2279650"/>
                <a:gd name="connsiteY89" fmla="*/ 1944473 h 3271623"/>
                <a:gd name="connsiteX90" fmla="*/ 139700 w 2279650"/>
                <a:gd name="connsiteY90" fmla="*/ 1830173 h 3271623"/>
                <a:gd name="connsiteX91" fmla="*/ 184150 w 2279650"/>
                <a:gd name="connsiteY91" fmla="*/ 1690473 h 3271623"/>
                <a:gd name="connsiteX92" fmla="*/ 228600 w 2279650"/>
                <a:gd name="connsiteY92" fmla="*/ 1595223 h 3271623"/>
                <a:gd name="connsiteX93" fmla="*/ 311150 w 2279650"/>
                <a:gd name="connsiteY93" fmla="*/ 1646023 h 3271623"/>
                <a:gd name="connsiteX94" fmla="*/ 317500 w 2279650"/>
                <a:gd name="connsiteY94" fmla="*/ 1538073 h 3271623"/>
                <a:gd name="connsiteX95" fmla="*/ 304800 w 2279650"/>
                <a:gd name="connsiteY95" fmla="*/ 1436473 h 3271623"/>
                <a:gd name="connsiteX96" fmla="*/ 297150 w 2279650"/>
                <a:gd name="connsiteY96" fmla="*/ 1428313 h 3271623"/>
                <a:gd name="connsiteX97" fmla="*/ 311151 w 2279650"/>
                <a:gd name="connsiteY97" fmla="*/ 1426313 h 3271623"/>
                <a:gd name="connsiteX98" fmla="*/ 273051 w 2279650"/>
                <a:gd name="connsiteY98" fmla="*/ 1289153 h 3271623"/>
                <a:gd name="connsiteX99" fmla="*/ 410211 w 2279650"/>
                <a:gd name="connsiteY99" fmla="*/ 1144373 h 3271623"/>
                <a:gd name="connsiteX100" fmla="*/ 509271 w 2279650"/>
                <a:gd name="connsiteY100" fmla="*/ 1197713 h 3271623"/>
                <a:gd name="connsiteX101" fmla="*/ 570231 w 2279650"/>
                <a:gd name="connsiteY101" fmla="*/ 1113893 h 3271623"/>
                <a:gd name="connsiteX102" fmla="*/ 638811 w 2279650"/>
                <a:gd name="connsiteY102" fmla="*/ 923393 h 3271623"/>
                <a:gd name="connsiteX103" fmla="*/ 638811 w 2279650"/>
                <a:gd name="connsiteY103" fmla="*/ 847193 h 3271623"/>
                <a:gd name="connsiteX104" fmla="*/ 821691 w 2279650"/>
                <a:gd name="connsiteY104" fmla="*/ 847193 h 3271623"/>
                <a:gd name="connsiteX105" fmla="*/ 890271 w 2279650"/>
                <a:gd name="connsiteY105" fmla="*/ 656693 h 3271623"/>
                <a:gd name="connsiteX106" fmla="*/ 836931 w 2279650"/>
                <a:gd name="connsiteY106" fmla="*/ 557633 h 3271623"/>
                <a:gd name="connsiteX107" fmla="*/ 737871 w 2279650"/>
                <a:gd name="connsiteY107" fmla="*/ 618593 h 3271623"/>
                <a:gd name="connsiteX108" fmla="*/ 661671 w 2279650"/>
                <a:gd name="connsiteY108" fmla="*/ 565253 h 3271623"/>
                <a:gd name="connsiteX109" fmla="*/ 821691 w 2279650"/>
                <a:gd name="connsiteY109" fmla="*/ 397613 h 3271623"/>
                <a:gd name="connsiteX110" fmla="*/ 1050291 w 2279650"/>
                <a:gd name="connsiteY110" fmla="*/ 397613 h 3271623"/>
                <a:gd name="connsiteX111" fmla="*/ 1042671 w 2279650"/>
                <a:gd name="connsiteY111" fmla="*/ 321413 h 3271623"/>
                <a:gd name="connsiteX112" fmla="*/ 1019811 w 2279650"/>
                <a:gd name="connsiteY112" fmla="*/ 245213 h 3271623"/>
                <a:gd name="connsiteX113" fmla="*/ 1118871 w 2279650"/>
                <a:gd name="connsiteY113" fmla="*/ 191873 h 3271623"/>
                <a:gd name="connsiteX114" fmla="*/ 1164591 w 2279650"/>
                <a:gd name="connsiteY114" fmla="*/ 222353 h 3271623"/>
                <a:gd name="connsiteX115" fmla="*/ 1179831 w 2279650"/>
                <a:gd name="connsiteY115" fmla="*/ 298553 h 3271623"/>
                <a:gd name="connsiteX116" fmla="*/ 1248411 w 2279650"/>
                <a:gd name="connsiteY116" fmla="*/ 283313 h 3271623"/>
                <a:gd name="connsiteX117" fmla="*/ 1469391 w 2279650"/>
                <a:gd name="connsiteY117" fmla="*/ 62333 h 3271623"/>
                <a:gd name="connsiteX118" fmla="*/ 1431291 w 2279650"/>
                <a:gd name="connsiteY118" fmla="*/ 31853 h 3271623"/>
                <a:gd name="connsiteX119" fmla="*/ 1522731 w 2279650"/>
                <a:gd name="connsiteY119" fmla="*/ 24233 h 3271623"/>
                <a:gd name="connsiteX120" fmla="*/ 1553888 w 2279650"/>
                <a:gd name="connsiteY120" fmla="*/ 0 h 3271623"/>
                <a:gd name="connsiteX0" fmla="*/ 1553888 w 2279650"/>
                <a:gd name="connsiteY0" fmla="*/ 0 h 3271623"/>
                <a:gd name="connsiteX1" fmla="*/ 1674218 w 2279650"/>
                <a:gd name="connsiteY1" fmla="*/ 13752 h 3271623"/>
                <a:gd name="connsiteX2" fmla="*/ 1737718 w 2279650"/>
                <a:gd name="connsiteY2" fmla="*/ 96302 h 3271623"/>
                <a:gd name="connsiteX3" fmla="*/ 1667868 w 2279650"/>
                <a:gd name="connsiteY3" fmla="*/ 191552 h 3271623"/>
                <a:gd name="connsiteX4" fmla="*/ 1705968 w 2279650"/>
                <a:gd name="connsiteY4" fmla="*/ 350302 h 3271623"/>
                <a:gd name="connsiteX5" fmla="*/ 1623418 w 2279650"/>
                <a:gd name="connsiteY5" fmla="*/ 420152 h 3271623"/>
                <a:gd name="connsiteX6" fmla="*/ 1725018 w 2279650"/>
                <a:gd name="connsiteY6" fmla="*/ 521752 h 3271623"/>
                <a:gd name="connsiteX7" fmla="*/ 1794868 w 2279650"/>
                <a:gd name="connsiteY7" fmla="*/ 496352 h 3271623"/>
                <a:gd name="connsiteX8" fmla="*/ 1763118 w 2279650"/>
                <a:gd name="connsiteY8" fmla="*/ 426502 h 3271623"/>
                <a:gd name="connsiteX9" fmla="*/ 1871068 w 2279650"/>
                <a:gd name="connsiteY9" fmla="*/ 363002 h 3271623"/>
                <a:gd name="connsiteX10" fmla="*/ 1979018 w 2279650"/>
                <a:gd name="connsiteY10" fmla="*/ 407452 h 3271623"/>
                <a:gd name="connsiteX11" fmla="*/ 1995175 w 2279650"/>
                <a:gd name="connsiteY11" fmla="*/ 398405 h 3271623"/>
                <a:gd name="connsiteX12" fmla="*/ 2000250 w 2279650"/>
                <a:gd name="connsiteY12" fmla="*/ 407774 h 3271623"/>
                <a:gd name="connsiteX13" fmla="*/ 2025650 w 2279650"/>
                <a:gd name="connsiteY13" fmla="*/ 541124 h 3271623"/>
                <a:gd name="connsiteX14" fmla="*/ 2120900 w 2279650"/>
                <a:gd name="connsiteY14" fmla="*/ 572874 h 3271623"/>
                <a:gd name="connsiteX15" fmla="*/ 2146300 w 2279650"/>
                <a:gd name="connsiteY15" fmla="*/ 661774 h 3271623"/>
                <a:gd name="connsiteX16" fmla="*/ 2279650 w 2279650"/>
                <a:gd name="connsiteY16" fmla="*/ 706224 h 3271623"/>
                <a:gd name="connsiteX17" fmla="*/ 2254250 w 2279650"/>
                <a:gd name="connsiteY17" fmla="*/ 788774 h 3271623"/>
                <a:gd name="connsiteX18" fmla="*/ 2171700 w 2279650"/>
                <a:gd name="connsiteY18" fmla="*/ 763374 h 3271623"/>
                <a:gd name="connsiteX19" fmla="*/ 2222500 w 2279650"/>
                <a:gd name="connsiteY19" fmla="*/ 820524 h 3271623"/>
                <a:gd name="connsiteX20" fmla="*/ 2197100 w 2279650"/>
                <a:gd name="connsiteY20" fmla="*/ 871324 h 3271623"/>
                <a:gd name="connsiteX21" fmla="*/ 2279650 w 2279650"/>
                <a:gd name="connsiteY21" fmla="*/ 947524 h 3271623"/>
                <a:gd name="connsiteX22" fmla="*/ 2241550 w 2279650"/>
                <a:gd name="connsiteY22" fmla="*/ 985624 h 3271623"/>
                <a:gd name="connsiteX23" fmla="*/ 2165350 w 2279650"/>
                <a:gd name="connsiteY23" fmla="*/ 966574 h 3271623"/>
                <a:gd name="connsiteX24" fmla="*/ 2076450 w 2279650"/>
                <a:gd name="connsiteY24" fmla="*/ 972924 h 3271623"/>
                <a:gd name="connsiteX25" fmla="*/ 2108200 w 2279650"/>
                <a:gd name="connsiteY25" fmla="*/ 1068174 h 3271623"/>
                <a:gd name="connsiteX26" fmla="*/ 2025650 w 2279650"/>
                <a:gd name="connsiteY26" fmla="*/ 1068174 h 3271623"/>
                <a:gd name="connsiteX27" fmla="*/ 2025650 w 2279650"/>
                <a:gd name="connsiteY27" fmla="*/ 1125324 h 3271623"/>
                <a:gd name="connsiteX28" fmla="*/ 2063750 w 2279650"/>
                <a:gd name="connsiteY28" fmla="*/ 1125324 h 3271623"/>
                <a:gd name="connsiteX29" fmla="*/ 2108200 w 2279650"/>
                <a:gd name="connsiteY29" fmla="*/ 1138024 h 3271623"/>
                <a:gd name="connsiteX30" fmla="*/ 2101850 w 2279650"/>
                <a:gd name="connsiteY30" fmla="*/ 1226924 h 3271623"/>
                <a:gd name="connsiteX31" fmla="*/ 2019300 w 2279650"/>
                <a:gd name="connsiteY31" fmla="*/ 1239624 h 3271623"/>
                <a:gd name="connsiteX32" fmla="*/ 1936750 w 2279650"/>
                <a:gd name="connsiteY32" fmla="*/ 1487274 h 3271623"/>
                <a:gd name="connsiteX33" fmla="*/ 1993900 w 2279650"/>
                <a:gd name="connsiteY33" fmla="*/ 1544424 h 3271623"/>
                <a:gd name="connsiteX34" fmla="*/ 2044700 w 2279650"/>
                <a:gd name="connsiteY34" fmla="*/ 1531724 h 3271623"/>
                <a:gd name="connsiteX35" fmla="*/ 2032000 w 2279650"/>
                <a:gd name="connsiteY35" fmla="*/ 1480924 h 3271623"/>
                <a:gd name="connsiteX36" fmla="*/ 2108200 w 2279650"/>
                <a:gd name="connsiteY36" fmla="*/ 1474574 h 3271623"/>
                <a:gd name="connsiteX37" fmla="*/ 2146300 w 2279650"/>
                <a:gd name="connsiteY37" fmla="*/ 1525374 h 3271623"/>
                <a:gd name="connsiteX38" fmla="*/ 2108200 w 2279650"/>
                <a:gd name="connsiteY38" fmla="*/ 1563474 h 3271623"/>
                <a:gd name="connsiteX39" fmla="*/ 2103467 w 2279650"/>
                <a:gd name="connsiteY39" fmla="*/ 1700749 h 3271623"/>
                <a:gd name="connsiteX40" fmla="*/ 2076450 w 2279650"/>
                <a:gd name="connsiteY40" fmla="*/ 1741273 h 3271623"/>
                <a:gd name="connsiteX41" fmla="*/ 1936750 w 2279650"/>
                <a:gd name="connsiteY41" fmla="*/ 1836523 h 3271623"/>
                <a:gd name="connsiteX42" fmla="*/ 1841500 w 2279650"/>
                <a:gd name="connsiteY42" fmla="*/ 1785723 h 3271623"/>
                <a:gd name="connsiteX43" fmla="*/ 1803400 w 2279650"/>
                <a:gd name="connsiteY43" fmla="*/ 1988923 h 3271623"/>
                <a:gd name="connsiteX44" fmla="*/ 1720850 w 2279650"/>
                <a:gd name="connsiteY44" fmla="*/ 2090523 h 3271623"/>
                <a:gd name="connsiteX45" fmla="*/ 1612900 w 2279650"/>
                <a:gd name="connsiteY45" fmla="*/ 2077823 h 3271623"/>
                <a:gd name="connsiteX46" fmla="*/ 1612900 w 2279650"/>
                <a:gd name="connsiteY46" fmla="*/ 2185773 h 3271623"/>
                <a:gd name="connsiteX47" fmla="*/ 1619250 w 2279650"/>
                <a:gd name="connsiteY47" fmla="*/ 2274673 h 3271623"/>
                <a:gd name="connsiteX48" fmla="*/ 1492250 w 2279650"/>
                <a:gd name="connsiteY48" fmla="*/ 2274673 h 3271623"/>
                <a:gd name="connsiteX49" fmla="*/ 1492250 w 2279650"/>
                <a:gd name="connsiteY49" fmla="*/ 2223873 h 3271623"/>
                <a:gd name="connsiteX50" fmla="*/ 1339850 w 2279650"/>
                <a:gd name="connsiteY50" fmla="*/ 2223873 h 3271623"/>
                <a:gd name="connsiteX51" fmla="*/ 1250950 w 2279650"/>
                <a:gd name="connsiteY51" fmla="*/ 2281023 h 3271623"/>
                <a:gd name="connsiteX52" fmla="*/ 1231900 w 2279650"/>
                <a:gd name="connsiteY52" fmla="*/ 2230223 h 3271623"/>
                <a:gd name="connsiteX53" fmla="*/ 1123950 w 2279650"/>
                <a:gd name="connsiteY53" fmla="*/ 2249273 h 3271623"/>
                <a:gd name="connsiteX54" fmla="*/ 1123950 w 2279650"/>
                <a:gd name="connsiteY54" fmla="*/ 2350873 h 3271623"/>
                <a:gd name="connsiteX55" fmla="*/ 1155700 w 2279650"/>
                <a:gd name="connsiteY55" fmla="*/ 2427073 h 3271623"/>
                <a:gd name="connsiteX56" fmla="*/ 1149350 w 2279650"/>
                <a:gd name="connsiteY56" fmla="*/ 2642973 h 3271623"/>
                <a:gd name="connsiteX57" fmla="*/ 1206500 w 2279650"/>
                <a:gd name="connsiteY57" fmla="*/ 2668373 h 3271623"/>
                <a:gd name="connsiteX58" fmla="*/ 1270000 w 2279650"/>
                <a:gd name="connsiteY58" fmla="*/ 2769973 h 3271623"/>
                <a:gd name="connsiteX59" fmla="*/ 1193800 w 2279650"/>
                <a:gd name="connsiteY59" fmla="*/ 2909673 h 3271623"/>
                <a:gd name="connsiteX60" fmla="*/ 1193800 w 2279650"/>
                <a:gd name="connsiteY60" fmla="*/ 3036673 h 3271623"/>
                <a:gd name="connsiteX61" fmla="*/ 1244600 w 2279650"/>
                <a:gd name="connsiteY61" fmla="*/ 3119223 h 3271623"/>
                <a:gd name="connsiteX62" fmla="*/ 1098550 w 2279650"/>
                <a:gd name="connsiteY62" fmla="*/ 3138273 h 3271623"/>
                <a:gd name="connsiteX63" fmla="*/ 1079500 w 2279650"/>
                <a:gd name="connsiteY63" fmla="*/ 3208123 h 3271623"/>
                <a:gd name="connsiteX64" fmla="*/ 952500 w 2279650"/>
                <a:gd name="connsiteY64" fmla="*/ 3271623 h 3271623"/>
                <a:gd name="connsiteX65" fmla="*/ 990600 w 2279650"/>
                <a:gd name="connsiteY65" fmla="*/ 3138273 h 3271623"/>
                <a:gd name="connsiteX66" fmla="*/ 933450 w 2279650"/>
                <a:gd name="connsiteY66" fmla="*/ 3100173 h 3271623"/>
                <a:gd name="connsiteX67" fmla="*/ 857250 w 2279650"/>
                <a:gd name="connsiteY67" fmla="*/ 3112873 h 3271623"/>
                <a:gd name="connsiteX68" fmla="*/ 850900 w 2279650"/>
                <a:gd name="connsiteY68" fmla="*/ 2973173 h 3271623"/>
                <a:gd name="connsiteX69" fmla="*/ 755650 w 2279650"/>
                <a:gd name="connsiteY69" fmla="*/ 2985873 h 3271623"/>
                <a:gd name="connsiteX70" fmla="*/ 762000 w 2279650"/>
                <a:gd name="connsiteY70" fmla="*/ 3093823 h 3271623"/>
                <a:gd name="connsiteX71" fmla="*/ 698500 w 2279650"/>
                <a:gd name="connsiteY71" fmla="*/ 3112873 h 3271623"/>
                <a:gd name="connsiteX72" fmla="*/ 584200 w 2279650"/>
                <a:gd name="connsiteY72" fmla="*/ 3049373 h 3271623"/>
                <a:gd name="connsiteX73" fmla="*/ 514350 w 2279650"/>
                <a:gd name="connsiteY73" fmla="*/ 2871573 h 3271623"/>
                <a:gd name="connsiteX74" fmla="*/ 635000 w 2279650"/>
                <a:gd name="connsiteY74" fmla="*/ 2757273 h 3271623"/>
                <a:gd name="connsiteX75" fmla="*/ 577850 w 2279650"/>
                <a:gd name="connsiteY75" fmla="*/ 2744573 h 3271623"/>
                <a:gd name="connsiteX76" fmla="*/ 533400 w 2279650"/>
                <a:gd name="connsiteY76" fmla="*/ 2598523 h 3271623"/>
                <a:gd name="connsiteX77" fmla="*/ 431800 w 2279650"/>
                <a:gd name="connsiteY77" fmla="*/ 2388973 h 3271623"/>
                <a:gd name="connsiteX78" fmla="*/ 241300 w 2279650"/>
                <a:gd name="connsiteY78" fmla="*/ 2414373 h 3271623"/>
                <a:gd name="connsiteX79" fmla="*/ 101600 w 2279650"/>
                <a:gd name="connsiteY79" fmla="*/ 2452473 h 3271623"/>
                <a:gd name="connsiteX80" fmla="*/ 0 w 2279650"/>
                <a:gd name="connsiteY80" fmla="*/ 2325473 h 3271623"/>
                <a:gd name="connsiteX81" fmla="*/ 57150 w 2279650"/>
                <a:gd name="connsiteY81" fmla="*/ 2242923 h 3271623"/>
                <a:gd name="connsiteX82" fmla="*/ 127000 w 2279650"/>
                <a:gd name="connsiteY82" fmla="*/ 2255623 h 3271623"/>
                <a:gd name="connsiteX83" fmla="*/ 82550 w 2279650"/>
                <a:gd name="connsiteY83" fmla="*/ 2160373 h 3271623"/>
                <a:gd name="connsiteX84" fmla="*/ 171450 w 2279650"/>
                <a:gd name="connsiteY84" fmla="*/ 2096873 h 3271623"/>
                <a:gd name="connsiteX85" fmla="*/ 247650 w 2279650"/>
                <a:gd name="connsiteY85" fmla="*/ 2103223 h 3271623"/>
                <a:gd name="connsiteX86" fmla="*/ 222250 w 2279650"/>
                <a:gd name="connsiteY86" fmla="*/ 2027023 h 3271623"/>
                <a:gd name="connsiteX87" fmla="*/ 336550 w 2279650"/>
                <a:gd name="connsiteY87" fmla="*/ 2027023 h 3271623"/>
                <a:gd name="connsiteX88" fmla="*/ 279400 w 2279650"/>
                <a:gd name="connsiteY88" fmla="*/ 1944473 h 3271623"/>
                <a:gd name="connsiteX89" fmla="*/ 139700 w 2279650"/>
                <a:gd name="connsiteY89" fmla="*/ 1830173 h 3271623"/>
                <a:gd name="connsiteX90" fmla="*/ 184150 w 2279650"/>
                <a:gd name="connsiteY90" fmla="*/ 1690473 h 3271623"/>
                <a:gd name="connsiteX91" fmla="*/ 228600 w 2279650"/>
                <a:gd name="connsiteY91" fmla="*/ 1595223 h 3271623"/>
                <a:gd name="connsiteX92" fmla="*/ 311150 w 2279650"/>
                <a:gd name="connsiteY92" fmla="*/ 1646023 h 3271623"/>
                <a:gd name="connsiteX93" fmla="*/ 317500 w 2279650"/>
                <a:gd name="connsiteY93" fmla="*/ 1538073 h 3271623"/>
                <a:gd name="connsiteX94" fmla="*/ 304800 w 2279650"/>
                <a:gd name="connsiteY94" fmla="*/ 1436473 h 3271623"/>
                <a:gd name="connsiteX95" fmla="*/ 297150 w 2279650"/>
                <a:gd name="connsiteY95" fmla="*/ 1428313 h 3271623"/>
                <a:gd name="connsiteX96" fmla="*/ 311151 w 2279650"/>
                <a:gd name="connsiteY96" fmla="*/ 1426313 h 3271623"/>
                <a:gd name="connsiteX97" fmla="*/ 273051 w 2279650"/>
                <a:gd name="connsiteY97" fmla="*/ 1289153 h 3271623"/>
                <a:gd name="connsiteX98" fmla="*/ 410211 w 2279650"/>
                <a:gd name="connsiteY98" fmla="*/ 1144373 h 3271623"/>
                <a:gd name="connsiteX99" fmla="*/ 509271 w 2279650"/>
                <a:gd name="connsiteY99" fmla="*/ 1197713 h 3271623"/>
                <a:gd name="connsiteX100" fmla="*/ 570231 w 2279650"/>
                <a:gd name="connsiteY100" fmla="*/ 1113893 h 3271623"/>
                <a:gd name="connsiteX101" fmla="*/ 638811 w 2279650"/>
                <a:gd name="connsiteY101" fmla="*/ 923393 h 3271623"/>
                <a:gd name="connsiteX102" fmla="*/ 638811 w 2279650"/>
                <a:gd name="connsiteY102" fmla="*/ 847193 h 3271623"/>
                <a:gd name="connsiteX103" fmla="*/ 821691 w 2279650"/>
                <a:gd name="connsiteY103" fmla="*/ 847193 h 3271623"/>
                <a:gd name="connsiteX104" fmla="*/ 890271 w 2279650"/>
                <a:gd name="connsiteY104" fmla="*/ 656693 h 3271623"/>
                <a:gd name="connsiteX105" fmla="*/ 836931 w 2279650"/>
                <a:gd name="connsiteY105" fmla="*/ 557633 h 3271623"/>
                <a:gd name="connsiteX106" fmla="*/ 737871 w 2279650"/>
                <a:gd name="connsiteY106" fmla="*/ 618593 h 3271623"/>
                <a:gd name="connsiteX107" fmla="*/ 661671 w 2279650"/>
                <a:gd name="connsiteY107" fmla="*/ 565253 h 3271623"/>
                <a:gd name="connsiteX108" fmla="*/ 821691 w 2279650"/>
                <a:gd name="connsiteY108" fmla="*/ 397613 h 3271623"/>
                <a:gd name="connsiteX109" fmla="*/ 1050291 w 2279650"/>
                <a:gd name="connsiteY109" fmla="*/ 397613 h 3271623"/>
                <a:gd name="connsiteX110" fmla="*/ 1042671 w 2279650"/>
                <a:gd name="connsiteY110" fmla="*/ 321413 h 3271623"/>
                <a:gd name="connsiteX111" fmla="*/ 1019811 w 2279650"/>
                <a:gd name="connsiteY111" fmla="*/ 245213 h 3271623"/>
                <a:gd name="connsiteX112" fmla="*/ 1118871 w 2279650"/>
                <a:gd name="connsiteY112" fmla="*/ 191873 h 3271623"/>
                <a:gd name="connsiteX113" fmla="*/ 1164591 w 2279650"/>
                <a:gd name="connsiteY113" fmla="*/ 222353 h 3271623"/>
                <a:gd name="connsiteX114" fmla="*/ 1179831 w 2279650"/>
                <a:gd name="connsiteY114" fmla="*/ 298553 h 3271623"/>
                <a:gd name="connsiteX115" fmla="*/ 1248411 w 2279650"/>
                <a:gd name="connsiteY115" fmla="*/ 283313 h 3271623"/>
                <a:gd name="connsiteX116" fmla="*/ 1469391 w 2279650"/>
                <a:gd name="connsiteY116" fmla="*/ 62333 h 3271623"/>
                <a:gd name="connsiteX117" fmla="*/ 1431291 w 2279650"/>
                <a:gd name="connsiteY117" fmla="*/ 31853 h 3271623"/>
                <a:gd name="connsiteX118" fmla="*/ 1522731 w 2279650"/>
                <a:gd name="connsiteY118" fmla="*/ 24233 h 3271623"/>
                <a:gd name="connsiteX119" fmla="*/ 1553888 w 2279650"/>
                <a:gd name="connsiteY119" fmla="*/ 0 h 3271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2279650" h="3271623">
                  <a:moveTo>
                    <a:pt x="1553888" y="0"/>
                  </a:moveTo>
                  <a:lnTo>
                    <a:pt x="1674218" y="13752"/>
                  </a:lnTo>
                  <a:lnTo>
                    <a:pt x="1737718" y="96302"/>
                  </a:lnTo>
                  <a:lnTo>
                    <a:pt x="1667868" y="191552"/>
                  </a:lnTo>
                  <a:lnTo>
                    <a:pt x="1705968" y="350302"/>
                  </a:lnTo>
                  <a:lnTo>
                    <a:pt x="1623418" y="420152"/>
                  </a:lnTo>
                  <a:lnTo>
                    <a:pt x="1725018" y="521752"/>
                  </a:lnTo>
                  <a:lnTo>
                    <a:pt x="1794868" y="496352"/>
                  </a:lnTo>
                  <a:lnTo>
                    <a:pt x="1763118" y="426502"/>
                  </a:lnTo>
                  <a:lnTo>
                    <a:pt x="1871068" y="363002"/>
                  </a:lnTo>
                  <a:lnTo>
                    <a:pt x="1979018" y="407452"/>
                  </a:lnTo>
                  <a:lnTo>
                    <a:pt x="1995175" y="398405"/>
                  </a:lnTo>
                  <a:lnTo>
                    <a:pt x="2000250" y="407774"/>
                  </a:lnTo>
                  <a:lnTo>
                    <a:pt x="2025650" y="541124"/>
                  </a:lnTo>
                  <a:lnTo>
                    <a:pt x="2120900" y="572874"/>
                  </a:lnTo>
                  <a:lnTo>
                    <a:pt x="2146300" y="661774"/>
                  </a:lnTo>
                  <a:lnTo>
                    <a:pt x="2279650" y="706224"/>
                  </a:lnTo>
                  <a:lnTo>
                    <a:pt x="2254250" y="788774"/>
                  </a:lnTo>
                  <a:lnTo>
                    <a:pt x="2171700" y="763374"/>
                  </a:lnTo>
                  <a:lnTo>
                    <a:pt x="2222500" y="820524"/>
                  </a:lnTo>
                  <a:lnTo>
                    <a:pt x="2197100" y="871324"/>
                  </a:lnTo>
                  <a:lnTo>
                    <a:pt x="2279650" y="947524"/>
                  </a:lnTo>
                  <a:lnTo>
                    <a:pt x="2241550" y="985624"/>
                  </a:lnTo>
                  <a:lnTo>
                    <a:pt x="2165350" y="966574"/>
                  </a:lnTo>
                  <a:lnTo>
                    <a:pt x="2076450" y="972924"/>
                  </a:lnTo>
                  <a:lnTo>
                    <a:pt x="2108200" y="1068174"/>
                  </a:lnTo>
                  <a:lnTo>
                    <a:pt x="2025650" y="1068174"/>
                  </a:lnTo>
                  <a:lnTo>
                    <a:pt x="2025650" y="1125324"/>
                  </a:lnTo>
                  <a:lnTo>
                    <a:pt x="2063750" y="1125324"/>
                  </a:lnTo>
                  <a:lnTo>
                    <a:pt x="2108200" y="1138024"/>
                  </a:lnTo>
                  <a:lnTo>
                    <a:pt x="2101850" y="1226924"/>
                  </a:lnTo>
                  <a:lnTo>
                    <a:pt x="2019300" y="1239624"/>
                  </a:lnTo>
                  <a:lnTo>
                    <a:pt x="1936750" y="1487274"/>
                  </a:lnTo>
                  <a:lnTo>
                    <a:pt x="1993900" y="1544424"/>
                  </a:lnTo>
                  <a:lnTo>
                    <a:pt x="2044700" y="1531724"/>
                  </a:lnTo>
                  <a:lnTo>
                    <a:pt x="2032000" y="1480924"/>
                  </a:lnTo>
                  <a:lnTo>
                    <a:pt x="2108200" y="1474574"/>
                  </a:lnTo>
                  <a:lnTo>
                    <a:pt x="2146300" y="1525374"/>
                  </a:lnTo>
                  <a:lnTo>
                    <a:pt x="2108200" y="1563474"/>
                  </a:lnTo>
                  <a:lnTo>
                    <a:pt x="2103467" y="1700749"/>
                  </a:lnTo>
                  <a:lnTo>
                    <a:pt x="2076450" y="1741273"/>
                  </a:lnTo>
                  <a:lnTo>
                    <a:pt x="1936750" y="1836523"/>
                  </a:lnTo>
                  <a:lnTo>
                    <a:pt x="1841500" y="1785723"/>
                  </a:lnTo>
                  <a:lnTo>
                    <a:pt x="1803400" y="1988923"/>
                  </a:lnTo>
                  <a:lnTo>
                    <a:pt x="1720850" y="2090523"/>
                  </a:lnTo>
                  <a:lnTo>
                    <a:pt x="1612900" y="2077823"/>
                  </a:lnTo>
                  <a:lnTo>
                    <a:pt x="1612900" y="2185773"/>
                  </a:lnTo>
                  <a:lnTo>
                    <a:pt x="1619250" y="2274673"/>
                  </a:lnTo>
                  <a:lnTo>
                    <a:pt x="1492250" y="2274673"/>
                  </a:lnTo>
                  <a:lnTo>
                    <a:pt x="1492250" y="2223873"/>
                  </a:lnTo>
                  <a:lnTo>
                    <a:pt x="1339850" y="2223873"/>
                  </a:lnTo>
                  <a:lnTo>
                    <a:pt x="1250950" y="2281023"/>
                  </a:lnTo>
                  <a:lnTo>
                    <a:pt x="1231900" y="2230223"/>
                  </a:lnTo>
                  <a:lnTo>
                    <a:pt x="1123950" y="2249273"/>
                  </a:lnTo>
                  <a:lnTo>
                    <a:pt x="1123950" y="2350873"/>
                  </a:lnTo>
                  <a:lnTo>
                    <a:pt x="1155700" y="2427073"/>
                  </a:lnTo>
                  <a:lnTo>
                    <a:pt x="1149350" y="2642973"/>
                  </a:lnTo>
                  <a:lnTo>
                    <a:pt x="1206500" y="2668373"/>
                  </a:lnTo>
                  <a:lnTo>
                    <a:pt x="1270000" y="2769973"/>
                  </a:lnTo>
                  <a:lnTo>
                    <a:pt x="1193800" y="2909673"/>
                  </a:lnTo>
                  <a:lnTo>
                    <a:pt x="1193800" y="3036673"/>
                  </a:lnTo>
                  <a:lnTo>
                    <a:pt x="1244600" y="3119223"/>
                  </a:lnTo>
                  <a:lnTo>
                    <a:pt x="1098550" y="3138273"/>
                  </a:lnTo>
                  <a:lnTo>
                    <a:pt x="1079500" y="3208123"/>
                  </a:lnTo>
                  <a:lnTo>
                    <a:pt x="952500" y="3271623"/>
                  </a:lnTo>
                  <a:lnTo>
                    <a:pt x="990600" y="3138273"/>
                  </a:lnTo>
                  <a:lnTo>
                    <a:pt x="933450" y="3100173"/>
                  </a:lnTo>
                  <a:lnTo>
                    <a:pt x="857250" y="3112873"/>
                  </a:lnTo>
                  <a:lnTo>
                    <a:pt x="850900" y="2973173"/>
                  </a:lnTo>
                  <a:lnTo>
                    <a:pt x="755650" y="2985873"/>
                  </a:lnTo>
                  <a:lnTo>
                    <a:pt x="762000" y="3093823"/>
                  </a:lnTo>
                  <a:lnTo>
                    <a:pt x="698500" y="3112873"/>
                  </a:lnTo>
                  <a:lnTo>
                    <a:pt x="584200" y="3049373"/>
                  </a:lnTo>
                  <a:lnTo>
                    <a:pt x="514350" y="2871573"/>
                  </a:lnTo>
                  <a:lnTo>
                    <a:pt x="635000" y="2757273"/>
                  </a:lnTo>
                  <a:lnTo>
                    <a:pt x="577850" y="2744573"/>
                  </a:lnTo>
                  <a:lnTo>
                    <a:pt x="533400" y="2598523"/>
                  </a:lnTo>
                  <a:lnTo>
                    <a:pt x="431800" y="2388973"/>
                  </a:lnTo>
                  <a:lnTo>
                    <a:pt x="241300" y="2414373"/>
                  </a:lnTo>
                  <a:lnTo>
                    <a:pt x="101600" y="2452473"/>
                  </a:lnTo>
                  <a:lnTo>
                    <a:pt x="0" y="2325473"/>
                  </a:lnTo>
                  <a:lnTo>
                    <a:pt x="57150" y="2242923"/>
                  </a:lnTo>
                  <a:lnTo>
                    <a:pt x="127000" y="2255623"/>
                  </a:lnTo>
                  <a:lnTo>
                    <a:pt x="82550" y="2160373"/>
                  </a:lnTo>
                  <a:lnTo>
                    <a:pt x="171450" y="2096873"/>
                  </a:lnTo>
                  <a:lnTo>
                    <a:pt x="247650" y="2103223"/>
                  </a:lnTo>
                  <a:lnTo>
                    <a:pt x="222250" y="2027023"/>
                  </a:lnTo>
                  <a:lnTo>
                    <a:pt x="336550" y="2027023"/>
                  </a:lnTo>
                  <a:lnTo>
                    <a:pt x="279400" y="1944473"/>
                  </a:lnTo>
                  <a:lnTo>
                    <a:pt x="139700" y="1830173"/>
                  </a:lnTo>
                  <a:lnTo>
                    <a:pt x="184150" y="1690473"/>
                  </a:lnTo>
                  <a:lnTo>
                    <a:pt x="228600" y="1595223"/>
                  </a:lnTo>
                  <a:lnTo>
                    <a:pt x="311150" y="1646023"/>
                  </a:lnTo>
                  <a:lnTo>
                    <a:pt x="317500" y="1538073"/>
                  </a:lnTo>
                  <a:lnTo>
                    <a:pt x="304800" y="1436473"/>
                  </a:lnTo>
                  <a:lnTo>
                    <a:pt x="297150" y="1428313"/>
                  </a:lnTo>
                  <a:lnTo>
                    <a:pt x="311151" y="1426313"/>
                  </a:lnTo>
                  <a:lnTo>
                    <a:pt x="273051" y="1289153"/>
                  </a:lnTo>
                  <a:lnTo>
                    <a:pt x="410211" y="1144373"/>
                  </a:lnTo>
                  <a:lnTo>
                    <a:pt x="509271" y="1197713"/>
                  </a:lnTo>
                  <a:lnTo>
                    <a:pt x="570231" y="1113893"/>
                  </a:lnTo>
                  <a:lnTo>
                    <a:pt x="638811" y="923393"/>
                  </a:lnTo>
                  <a:lnTo>
                    <a:pt x="638811" y="847193"/>
                  </a:lnTo>
                  <a:lnTo>
                    <a:pt x="821691" y="847193"/>
                  </a:lnTo>
                  <a:lnTo>
                    <a:pt x="890271" y="656693"/>
                  </a:lnTo>
                  <a:lnTo>
                    <a:pt x="836931" y="557633"/>
                  </a:lnTo>
                  <a:lnTo>
                    <a:pt x="737871" y="618593"/>
                  </a:lnTo>
                  <a:lnTo>
                    <a:pt x="661671" y="565253"/>
                  </a:lnTo>
                  <a:lnTo>
                    <a:pt x="821691" y="397613"/>
                  </a:lnTo>
                  <a:lnTo>
                    <a:pt x="1050291" y="397613"/>
                  </a:lnTo>
                  <a:lnTo>
                    <a:pt x="1042671" y="321413"/>
                  </a:lnTo>
                  <a:lnTo>
                    <a:pt x="1019811" y="245213"/>
                  </a:lnTo>
                  <a:lnTo>
                    <a:pt x="1118871" y="191873"/>
                  </a:lnTo>
                  <a:lnTo>
                    <a:pt x="1164591" y="222353"/>
                  </a:lnTo>
                  <a:lnTo>
                    <a:pt x="1179831" y="298553"/>
                  </a:lnTo>
                  <a:lnTo>
                    <a:pt x="1248411" y="283313"/>
                  </a:lnTo>
                  <a:lnTo>
                    <a:pt x="1469391" y="62333"/>
                  </a:lnTo>
                  <a:lnTo>
                    <a:pt x="1431291" y="31853"/>
                  </a:lnTo>
                  <a:lnTo>
                    <a:pt x="1522731" y="24233"/>
                  </a:lnTo>
                  <a:lnTo>
                    <a:pt x="1553888" y="0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_Map_Rheinland Pfalz">
              <a:extLst>
                <a:ext uri="{FF2B5EF4-FFF2-40B4-BE49-F238E27FC236}">
                  <a16:creationId xmlns:a16="http://schemas.microsoft.com/office/drawing/2014/main" id="{4D541AF3-016C-4F30-92FE-83024F8FD88B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463852" y="4105422"/>
              <a:ext cx="856235" cy="1065474"/>
            </a:xfrm>
            <a:custGeom>
              <a:avLst/>
              <a:gdLst>
                <a:gd name="connsiteX0" fmla="*/ 1701117 w 2386916"/>
                <a:gd name="connsiteY0" fmla="*/ 0 h 2870199"/>
                <a:gd name="connsiteX1" fmla="*/ 1701117 w 2386916"/>
                <a:gd name="connsiteY1" fmla="*/ 38100 h 2870199"/>
                <a:gd name="connsiteX2" fmla="*/ 1784937 w 2386916"/>
                <a:gd name="connsiteY2" fmla="*/ 129540 h 2870199"/>
                <a:gd name="connsiteX3" fmla="*/ 1845897 w 2386916"/>
                <a:gd name="connsiteY3" fmla="*/ 167640 h 2870199"/>
                <a:gd name="connsiteX4" fmla="*/ 1838277 w 2386916"/>
                <a:gd name="connsiteY4" fmla="*/ 251460 h 2870199"/>
                <a:gd name="connsiteX5" fmla="*/ 1937337 w 2386916"/>
                <a:gd name="connsiteY5" fmla="*/ 373380 h 2870199"/>
                <a:gd name="connsiteX6" fmla="*/ 2030016 w 2386916"/>
                <a:gd name="connsiteY6" fmla="*/ 360140 h 2870199"/>
                <a:gd name="connsiteX7" fmla="*/ 2037666 w 2386916"/>
                <a:gd name="connsiteY7" fmla="*/ 368300 h 2870199"/>
                <a:gd name="connsiteX8" fmla="*/ 2050366 w 2386916"/>
                <a:gd name="connsiteY8" fmla="*/ 469900 h 2870199"/>
                <a:gd name="connsiteX9" fmla="*/ 2044016 w 2386916"/>
                <a:gd name="connsiteY9" fmla="*/ 577850 h 2870199"/>
                <a:gd name="connsiteX10" fmla="*/ 1961466 w 2386916"/>
                <a:gd name="connsiteY10" fmla="*/ 527050 h 2870199"/>
                <a:gd name="connsiteX11" fmla="*/ 1917016 w 2386916"/>
                <a:gd name="connsiteY11" fmla="*/ 622300 h 2870199"/>
                <a:gd name="connsiteX12" fmla="*/ 1872566 w 2386916"/>
                <a:gd name="connsiteY12" fmla="*/ 762000 h 2870199"/>
                <a:gd name="connsiteX13" fmla="*/ 2012266 w 2386916"/>
                <a:gd name="connsiteY13" fmla="*/ 876300 h 2870199"/>
                <a:gd name="connsiteX14" fmla="*/ 2069416 w 2386916"/>
                <a:gd name="connsiteY14" fmla="*/ 958850 h 2870199"/>
                <a:gd name="connsiteX15" fmla="*/ 1955116 w 2386916"/>
                <a:gd name="connsiteY15" fmla="*/ 958850 h 2870199"/>
                <a:gd name="connsiteX16" fmla="*/ 1980516 w 2386916"/>
                <a:gd name="connsiteY16" fmla="*/ 1035050 h 2870199"/>
                <a:gd name="connsiteX17" fmla="*/ 1904316 w 2386916"/>
                <a:gd name="connsiteY17" fmla="*/ 1028700 h 2870199"/>
                <a:gd name="connsiteX18" fmla="*/ 1815416 w 2386916"/>
                <a:gd name="connsiteY18" fmla="*/ 1092200 h 2870199"/>
                <a:gd name="connsiteX19" fmla="*/ 1859866 w 2386916"/>
                <a:gd name="connsiteY19" fmla="*/ 1187450 h 2870199"/>
                <a:gd name="connsiteX20" fmla="*/ 1790016 w 2386916"/>
                <a:gd name="connsiteY20" fmla="*/ 1174750 h 2870199"/>
                <a:gd name="connsiteX21" fmla="*/ 1732866 w 2386916"/>
                <a:gd name="connsiteY21" fmla="*/ 1257300 h 2870199"/>
                <a:gd name="connsiteX22" fmla="*/ 1834466 w 2386916"/>
                <a:gd name="connsiteY22" fmla="*/ 1384300 h 2870199"/>
                <a:gd name="connsiteX23" fmla="*/ 1974166 w 2386916"/>
                <a:gd name="connsiteY23" fmla="*/ 1346200 h 2870199"/>
                <a:gd name="connsiteX24" fmla="*/ 2164666 w 2386916"/>
                <a:gd name="connsiteY24" fmla="*/ 1320800 h 2870199"/>
                <a:gd name="connsiteX25" fmla="*/ 2266266 w 2386916"/>
                <a:gd name="connsiteY25" fmla="*/ 1530350 h 2870199"/>
                <a:gd name="connsiteX26" fmla="*/ 2310716 w 2386916"/>
                <a:gd name="connsiteY26" fmla="*/ 1676400 h 2870199"/>
                <a:gd name="connsiteX27" fmla="*/ 2367866 w 2386916"/>
                <a:gd name="connsiteY27" fmla="*/ 1689100 h 2870199"/>
                <a:gd name="connsiteX28" fmla="*/ 2247216 w 2386916"/>
                <a:gd name="connsiteY28" fmla="*/ 1803400 h 2870199"/>
                <a:gd name="connsiteX29" fmla="*/ 2317066 w 2386916"/>
                <a:gd name="connsiteY29" fmla="*/ 1981200 h 2870199"/>
                <a:gd name="connsiteX30" fmla="*/ 2348292 w 2386916"/>
                <a:gd name="connsiteY30" fmla="*/ 1998548 h 2870199"/>
                <a:gd name="connsiteX31" fmla="*/ 2323416 w 2386916"/>
                <a:gd name="connsiteY31" fmla="*/ 2012949 h 2870199"/>
                <a:gd name="connsiteX32" fmla="*/ 2329766 w 2386916"/>
                <a:gd name="connsiteY32" fmla="*/ 2171699 h 2870199"/>
                <a:gd name="connsiteX33" fmla="*/ 2386916 w 2386916"/>
                <a:gd name="connsiteY33" fmla="*/ 2197099 h 2870199"/>
                <a:gd name="connsiteX34" fmla="*/ 2329766 w 2386916"/>
                <a:gd name="connsiteY34" fmla="*/ 2349499 h 2870199"/>
                <a:gd name="connsiteX35" fmla="*/ 2374216 w 2386916"/>
                <a:gd name="connsiteY35" fmla="*/ 2419349 h 2870199"/>
                <a:gd name="connsiteX36" fmla="*/ 2266266 w 2386916"/>
                <a:gd name="connsiteY36" fmla="*/ 2527299 h 2870199"/>
                <a:gd name="connsiteX37" fmla="*/ 2304366 w 2386916"/>
                <a:gd name="connsiteY37" fmla="*/ 2546349 h 2870199"/>
                <a:gd name="connsiteX38" fmla="*/ 2215466 w 2386916"/>
                <a:gd name="connsiteY38" fmla="*/ 2736849 h 2870199"/>
                <a:gd name="connsiteX39" fmla="*/ 2139266 w 2386916"/>
                <a:gd name="connsiteY39" fmla="*/ 2870199 h 2870199"/>
                <a:gd name="connsiteX40" fmla="*/ 1859866 w 2386916"/>
                <a:gd name="connsiteY40" fmla="*/ 2768599 h 2870199"/>
                <a:gd name="connsiteX41" fmla="*/ 1721416 w 2386916"/>
                <a:gd name="connsiteY41" fmla="*/ 2811567 h 2870199"/>
                <a:gd name="connsiteX42" fmla="*/ 1697964 w 2386916"/>
                <a:gd name="connsiteY42" fmla="*/ 2801306 h 2870199"/>
                <a:gd name="connsiteX43" fmla="*/ 1424145 w 2386916"/>
                <a:gd name="connsiteY43" fmla="*/ 2824125 h 2870199"/>
                <a:gd name="connsiteX44" fmla="*/ 1332873 w 2386916"/>
                <a:gd name="connsiteY44" fmla="*/ 2710034 h 2870199"/>
                <a:gd name="connsiteX45" fmla="*/ 990600 w 2386916"/>
                <a:gd name="connsiteY45" fmla="*/ 2710034 h 2870199"/>
                <a:gd name="connsiteX46" fmla="*/ 922146 w 2386916"/>
                <a:gd name="connsiteY46" fmla="*/ 2527489 h 2870199"/>
                <a:gd name="connsiteX47" fmla="*/ 625512 w 2386916"/>
                <a:gd name="connsiteY47" fmla="*/ 2687217 h 2870199"/>
                <a:gd name="connsiteX48" fmla="*/ 488602 w 2386916"/>
                <a:gd name="connsiteY48" fmla="*/ 2299307 h 2870199"/>
                <a:gd name="connsiteX49" fmla="*/ 283239 w 2386916"/>
                <a:gd name="connsiteY49" fmla="*/ 2230852 h 2870199"/>
                <a:gd name="connsiteX50" fmla="*/ 259636 w 2386916"/>
                <a:gd name="connsiteY50" fmla="*/ 2219051 h 2870199"/>
                <a:gd name="connsiteX51" fmla="*/ 259636 w 2386916"/>
                <a:gd name="connsiteY51" fmla="*/ 2219050 h 2870199"/>
                <a:gd name="connsiteX52" fmla="*/ 259636 w 2386916"/>
                <a:gd name="connsiteY52" fmla="*/ 2179227 h 2870199"/>
                <a:gd name="connsiteX53" fmla="*/ 259636 w 2386916"/>
                <a:gd name="connsiteY53" fmla="*/ 2100790 h 2870199"/>
                <a:gd name="connsiteX54" fmla="*/ 259637 w 2386916"/>
                <a:gd name="connsiteY54" fmla="*/ 2100789 h 2870199"/>
                <a:gd name="connsiteX55" fmla="*/ 259637 w 2386916"/>
                <a:gd name="connsiteY55" fmla="*/ 2179226 h 2870199"/>
                <a:gd name="connsiteX56" fmla="*/ 259637 w 2386916"/>
                <a:gd name="connsiteY56" fmla="*/ 2219050 h 2870199"/>
                <a:gd name="connsiteX57" fmla="*/ 283240 w 2386916"/>
                <a:gd name="connsiteY57" fmla="*/ 2230851 h 2870199"/>
                <a:gd name="connsiteX58" fmla="*/ 488603 w 2386916"/>
                <a:gd name="connsiteY58" fmla="*/ 2299306 h 2870199"/>
                <a:gd name="connsiteX59" fmla="*/ 625513 w 2386916"/>
                <a:gd name="connsiteY59" fmla="*/ 2687216 h 2870199"/>
                <a:gd name="connsiteX60" fmla="*/ 922147 w 2386916"/>
                <a:gd name="connsiteY60" fmla="*/ 2527488 h 2870199"/>
                <a:gd name="connsiteX61" fmla="*/ 990601 w 2386916"/>
                <a:gd name="connsiteY61" fmla="*/ 2710033 h 2870199"/>
                <a:gd name="connsiteX62" fmla="*/ 1291542 w 2386916"/>
                <a:gd name="connsiteY62" fmla="*/ 2710033 h 2870199"/>
                <a:gd name="connsiteX63" fmla="*/ 1291542 w 2386916"/>
                <a:gd name="connsiteY63" fmla="*/ 2586036 h 2870199"/>
                <a:gd name="connsiteX64" fmla="*/ 1224867 w 2386916"/>
                <a:gd name="connsiteY64" fmla="*/ 2509836 h 2870199"/>
                <a:gd name="connsiteX65" fmla="*/ 1267729 w 2386916"/>
                <a:gd name="connsiteY65" fmla="*/ 2447923 h 2870199"/>
                <a:gd name="connsiteX66" fmla="*/ 1334404 w 2386916"/>
                <a:gd name="connsiteY66" fmla="*/ 2414586 h 2870199"/>
                <a:gd name="connsiteX67" fmla="*/ 1348692 w 2386916"/>
                <a:gd name="connsiteY67" fmla="*/ 2300286 h 2870199"/>
                <a:gd name="connsiteX68" fmla="*/ 1277254 w 2386916"/>
                <a:gd name="connsiteY68" fmla="*/ 2290761 h 2870199"/>
                <a:gd name="connsiteX69" fmla="*/ 1191529 w 2386916"/>
                <a:gd name="connsiteY69" fmla="*/ 2181223 h 2870199"/>
                <a:gd name="connsiteX70" fmla="*/ 1272492 w 2386916"/>
                <a:gd name="connsiteY70" fmla="*/ 2100261 h 2870199"/>
                <a:gd name="connsiteX71" fmla="*/ 1205817 w 2386916"/>
                <a:gd name="connsiteY71" fmla="*/ 2014536 h 2870199"/>
                <a:gd name="connsiteX72" fmla="*/ 1120092 w 2386916"/>
                <a:gd name="connsiteY72" fmla="*/ 1952623 h 2870199"/>
                <a:gd name="connsiteX73" fmla="*/ 1034367 w 2386916"/>
                <a:gd name="connsiteY73" fmla="*/ 1943098 h 2870199"/>
                <a:gd name="connsiteX74" fmla="*/ 924829 w 2386916"/>
                <a:gd name="connsiteY74" fmla="*/ 1900236 h 2870199"/>
                <a:gd name="connsiteX75" fmla="*/ 662892 w 2386916"/>
                <a:gd name="connsiteY75" fmla="*/ 2047873 h 2870199"/>
                <a:gd name="connsiteX76" fmla="*/ 586692 w 2386916"/>
                <a:gd name="connsiteY76" fmla="*/ 2085973 h 2870199"/>
                <a:gd name="connsiteX77" fmla="*/ 310792 w 2386916"/>
                <a:gd name="connsiteY77" fmla="*/ 2055318 h 2870199"/>
                <a:gd name="connsiteX78" fmla="*/ 330230 w 2386916"/>
                <a:gd name="connsiteY78" fmla="*/ 2038040 h 2870199"/>
                <a:gd name="connsiteX79" fmla="*/ 267480 w 2386916"/>
                <a:gd name="connsiteY79" fmla="*/ 1975290 h 2870199"/>
                <a:gd name="connsiteX80" fmla="*/ 322386 w 2386916"/>
                <a:gd name="connsiteY80" fmla="*/ 1967446 h 2870199"/>
                <a:gd name="connsiteX81" fmla="*/ 369448 w 2386916"/>
                <a:gd name="connsiteY81" fmla="*/ 1904696 h 2870199"/>
                <a:gd name="connsiteX82" fmla="*/ 353761 w 2386916"/>
                <a:gd name="connsiteY82" fmla="*/ 1802728 h 2870199"/>
                <a:gd name="connsiteX83" fmla="*/ 141980 w 2386916"/>
                <a:gd name="connsiteY83" fmla="*/ 1653697 h 2870199"/>
                <a:gd name="connsiteX84" fmla="*/ 87074 w 2386916"/>
                <a:gd name="connsiteY84" fmla="*/ 1520353 h 2870199"/>
                <a:gd name="connsiteX85" fmla="*/ 8637 w 2386916"/>
                <a:gd name="connsiteY85" fmla="*/ 1363478 h 2870199"/>
                <a:gd name="connsiteX86" fmla="*/ 13351 w 2386916"/>
                <a:gd name="connsiteY86" fmla="*/ 1259803 h 2870199"/>
                <a:gd name="connsiteX87" fmla="*/ 0 w 2386916"/>
                <a:gd name="connsiteY87" fmla="*/ 1252520 h 2870199"/>
                <a:gd name="connsiteX88" fmla="*/ 16481 w 2386916"/>
                <a:gd name="connsiteY88" fmla="*/ 1261510 h 2870199"/>
                <a:gd name="connsiteX89" fmla="*/ 79230 w 2386916"/>
                <a:gd name="connsiteY89" fmla="*/ 1136010 h 2870199"/>
                <a:gd name="connsiteX90" fmla="*/ 204730 w 2386916"/>
                <a:gd name="connsiteY90" fmla="*/ 1034041 h 2870199"/>
                <a:gd name="connsiteX91" fmla="*/ 283167 w 2386916"/>
                <a:gd name="connsiteY91" fmla="*/ 979135 h 2870199"/>
                <a:gd name="connsiteX92" fmla="*/ 267480 w 2386916"/>
                <a:gd name="connsiteY92" fmla="*/ 869323 h 2870199"/>
                <a:gd name="connsiteX93" fmla="*/ 267480 w 2386916"/>
                <a:gd name="connsiteY93" fmla="*/ 771161 h 2870199"/>
                <a:gd name="connsiteX94" fmla="*/ 267481 w 2386916"/>
                <a:gd name="connsiteY94" fmla="*/ 771159 h 2870199"/>
                <a:gd name="connsiteX95" fmla="*/ 267481 w 2386916"/>
                <a:gd name="connsiteY95" fmla="*/ 869324 h 2870199"/>
                <a:gd name="connsiteX96" fmla="*/ 279604 w 2386916"/>
                <a:gd name="connsiteY96" fmla="*/ 954186 h 2870199"/>
                <a:gd name="connsiteX97" fmla="*/ 428577 w 2386916"/>
                <a:gd name="connsiteY97" fmla="*/ 899160 h 2870199"/>
                <a:gd name="connsiteX98" fmla="*/ 657177 w 2386916"/>
                <a:gd name="connsiteY98" fmla="*/ 906780 h 2870199"/>
                <a:gd name="connsiteX99" fmla="*/ 725757 w 2386916"/>
                <a:gd name="connsiteY99" fmla="*/ 891540 h 2870199"/>
                <a:gd name="connsiteX100" fmla="*/ 695277 w 2386916"/>
                <a:gd name="connsiteY100" fmla="*/ 731520 h 2870199"/>
                <a:gd name="connsiteX101" fmla="*/ 740997 w 2386916"/>
                <a:gd name="connsiteY101" fmla="*/ 670560 h 2870199"/>
                <a:gd name="connsiteX102" fmla="*/ 763857 w 2386916"/>
                <a:gd name="connsiteY102" fmla="*/ 716280 h 2870199"/>
                <a:gd name="connsiteX103" fmla="*/ 832437 w 2386916"/>
                <a:gd name="connsiteY103" fmla="*/ 716280 h 2870199"/>
                <a:gd name="connsiteX104" fmla="*/ 809577 w 2386916"/>
                <a:gd name="connsiteY104" fmla="*/ 601980 h 2870199"/>
                <a:gd name="connsiteX105" fmla="*/ 984837 w 2386916"/>
                <a:gd name="connsiteY105" fmla="*/ 556260 h 2870199"/>
                <a:gd name="connsiteX106" fmla="*/ 1129617 w 2386916"/>
                <a:gd name="connsiteY106" fmla="*/ 419100 h 2870199"/>
                <a:gd name="connsiteX107" fmla="*/ 1137237 w 2386916"/>
                <a:gd name="connsiteY107" fmla="*/ 472440 h 2870199"/>
                <a:gd name="connsiteX108" fmla="*/ 1274397 w 2386916"/>
                <a:gd name="connsiteY108" fmla="*/ 457200 h 2870199"/>
                <a:gd name="connsiteX109" fmla="*/ 1274397 w 2386916"/>
                <a:gd name="connsiteY109" fmla="*/ 350520 h 2870199"/>
                <a:gd name="connsiteX110" fmla="*/ 1495377 w 2386916"/>
                <a:gd name="connsiteY110" fmla="*/ 304800 h 2870199"/>
                <a:gd name="connsiteX111" fmla="*/ 1663017 w 2386916"/>
                <a:gd name="connsiteY111" fmla="*/ 129540 h 2870199"/>
                <a:gd name="connsiteX112" fmla="*/ 1632537 w 2386916"/>
                <a:gd name="connsiteY112" fmla="*/ 22860 h 2870199"/>
                <a:gd name="connsiteX0" fmla="*/ 1701117 w 2386916"/>
                <a:gd name="connsiteY0" fmla="*/ 0 h 2870199"/>
                <a:gd name="connsiteX1" fmla="*/ 1701117 w 2386916"/>
                <a:gd name="connsiteY1" fmla="*/ 38100 h 2870199"/>
                <a:gd name="connsiteX2" fmla="*/ 1784937 w 2386916"/>
                <a:gd name="connsiteY2" fmla="*/ 129540 h 2870199"/>
                <a:gd name="connsiteX3" fmla="*/ 1845897 w 2386916"/>
                <a:gd name="connsiteY3" fmla="*/ 167640 h 2870199"/>
                <a:gd name="connsiteX4" fmla="*/ 1838277 w 2386916"/>
                <a:gd name="connsiteY4" fmla="*/ 251460 h 2870199"/>
                <a:gd name="connsiteX5" fmla="*/ 1937337 w 2386916"/>
                <a:gd name="connsiteY5" fmla="*/ 373380 h 2870199"/>
                <a:gd name="connsiteX6" fmla="*/ 2030016 w 2386916"/>
                <a:gd name="connsiteY6" fmla="*/ 360140 h 2870199"/>
                <a:gd name="connsiteX7" fmla="*/ 2037666 w 2386916"/>
                <a:gd name="connsiteY7" fmla="*/ 368300 h 2870199"/>
                <a:gd name="connsiteX8" fmla="*/ 2050366 w 2386916"/>
                <a:gd name="connsiteY8" fmla="*/ 469900 h 2870199"/>
                <a:gd name="connsiteX9" fmla="*/ 2044016 w 2386916"/>
                <a:gd name="connsiteY9" fmla="*/ 577850 h 2870199"/>
                <a:gd name="connsiteX10" fmla="*/ 1961466 w 2386916"/>
                <a:gd name="connsiteY10" fmla="*/ 527050 h 2870199"/>
                <a:gd name="connsiteX11" fmla="*/ 1917016 w 2386916"/>
                <a:gd name="connsiteY11" fmla="*/ 622300 h 2870199"/>
                <a:gd name="connsiteX12" fmla="*/ 1872566 w 2386916"/>
                <a:gd name="connsiteY12" fmla="*/ 762000 h 2870199"/>
                <a:gd name="connsiteX13" fmla="*/ 2012266 w 2386916"/>
                <a:gd name="connsiteY13" fmla="*/ 876300 h 2870199"/>
                <a:gd name="connsiteX14" fmla="*/ 2069416 w 2386916"/>
                <a:gd name="connsiteY14" fmla="*/ 958850 h 2870199"/>
                <a:gd name="connsiteX15" fmla="*/ 1955116 w 2386916"/>
                <a:gd name="connsiteY15" fmla="*/ 958850 h 2870199"/>
                <a:gd name="connsiteX16" fmla="*/ 1980516 w 2386916"/>
                <a:gd name="connsiteY16" fmla="*/ 1035050 h 2870199"/>
                <a:gd name="connsiteX17" fmla="*/ 1904316 w 2386916"/>
                <a:gd name="connsiteY17" fmla="*/ 1028700 h 2870199"/>
                <a:gd name="connsiteX18" fmla="*/ 1815416 w 2386916"/>
                <a:gd name="connsiteY18" fmla="*/ 1092200 h 2870199"/>
                <a:gd name="connsiteX19" fmla="*/ 1859866 w 2386916"/>
                <a:gd name="connsiteY19" fmla="*/ 1187450 h 2870199"/>
                <a:gd name="connsiteX20" fmla="*/ 1790016 w 2386916"/>
                <a:gd name="connsiteY20" fmla="*/ 1174750 h 2870199"/>
                <a:gd name="connsiteX21" fmla="*/ 1732866 w 2386916"/>
                <a:gd name="connsiteY21" fmla="*/ 1257300 h 2870199"/>
                <a:gd name="connsiteX22" fmla="*/ 1834466 w 2386916"/>
                <a:gd name="connsiteY22" fmla="*/ 1384300 h 2870199"/>
                <a:gd name="connsiteX23" fmla="*/ 1974166 w 2386916"/>
                <a:gd name="connsiteY23" fmla="*/ 1346200 h 2870199"/>
                <a:gd name="connsiteX24" fmla="*/ 2164666 w 2386916"/>
                <a:gd name="connsiteY24" fmla="*/ 1320800 h 2870199"/>
                <a:gd name="connsiteX25" fmla="*/ 2266266 w 2386916"/>
                <a:gd name="connsiteY25" fmla="*/ 1530350 h 2870199"/>
                <a:gd name="connsiteX26" fmla="*/ 2310716 w 2386916"/>
                <a:gd name="connsiteY26" fmla="*/ 1676400 h 2870199"/>
                <a:gd name="connsiteX27" fmla="*/ 2367866 w 2386916"/>
                <a:gd name="connsiteY27" fmla="*/ 1689100 h 2870199"/>
                <a:gd name="connsiteX28" fmla="*/ 2247216 w 2386916"/>
                <a:gd name="connsiteY28" fmla="*/ 1803400 h 2870199"/>
                <a:gd name="connsiteX29" fmla="*/ 2317066 w 2386916"/>
                <a:gd name="connsiteY29" fmla="*/ 1981200 h 2870199"/>
                <a:gd name="connsiteX30" fmla="*/ 2348292 w 2386916"/>
                <a:gd name="connsiteY30" fmla="*/ 1998548 h 2870199"/>
                <a:gd name="connsiteX31" fmla="*/ 2323416 w 2386916"/>
                <a:gd name="connsiteY31" fmla="*/ 2012949 h 2870199"/>
                <a:gd name="connsiteX32" fmla="*/ 2329766 w 2386916"/>
                <a:gd name="connsiteY32" fmla="*/ 2171699 h 2870199"/>
                <a:gd name="connsiteX33" fmla="*/ 2386916 w 2386916"/>
                <a:gd name="connsiteY33" fmla="*/ 2197099 h 2870199"/>
                <a:gd name="connsiteX34" fmla="*/ 2329766 w 2386916"/>
                <a:gd name="connsiteY34" fmla="*/ 2349499 h 2870199"/>
                <a:gd name="connsiteX35" fmla="*/ 2374216 w 2386916"/>
                <a:gd name="connsiteY35" fmla="*/ 2419349 h 2870199"/>
                <a:gd name="connsiteX36" fmla="*/ 2266266 w 2386916"/>
                <a:gd name="connsiteY36" fmla="*/ 2527299 h 2870199"/>
                <a:gd name="connsiteX37" fmla="*/ 2304366 w 2386916"/>
                <a:gd name="connsiteY37" fmla="*/ 2546349 h 2870199"/>
                <a:gd name="connsiteX38" fmla="*/ 2215466 w 2386916"/>
                <a:gd name="connsiteY38" fmla="*/ 2736849 h 2870199"/>
                <a:gd name="connsiteX39" fmla="*/ 2139266 w 2386916"/>
                <a:gd name="connsiteY39" fmla="*/ 2870199 h 2870199"/>
                <a:gd name="connsiteX40" fmla="*/ 1721416 w 2386916"/>
                <a:gd name="connsiteY40" fmla="*/ 2811567 h 2870199"/>
                <a:gd name="connsiteX41" fmla="*/ 1697964 w 2386916"/>
                <a:gd name="connsiteY41" fmla="*/ 2801306 h 2870199"/>
                <a:gd name="connsiteX42" fmla="*/ 1424145 w 2386916"/>
                <a:gd name="connsiteY42" fmla="*/ 2824125 h 2870199"/>
                <a:gd name="connsiteX43" fmla="*/ 1332873 w 2386916"/>
                <a:gd name="connsiteY43" fmla="*/ 2710034 h 2870199"/>
                <a:gd name="connsiteX44" fmla="*/ 990600 w 2386916"/>
                <a:gd name="connsiteY44" fmla="*/ 2710034 h 2870199"/>
                <a:gd name="connsiteX45" fmla="*/ 922146 w 2386916"/>
                <a:gd name="connsiteY45" fmla="*/ 2527489 h 2870199"/>
                <a:gd name="connsiteX46" fmla="*/ 625512 w 2386916"/>
                <a:gd name="connsiteY46" fmla="*/ 2687217 h 2870199"/>
                <a:gd name="connsiteX47" fmla="*/ 488602 w 2386916"/>
                <a:gd name="connsiteY47" fmla="*/ 2299307 h 2870199"/>
                <a:gd name="connsiteX48" fmla="*/ 283239 w 2386916"/>
                <a:gd name="connsiteY48" fmla="*/ 2230852 h 2870199"/>
                <a:gd name="connsiteX49" fmla="*/ 259636 w 2386916"/>
                <a:gd name="connsiteY49" fmla="*/ 2219051 h 2870199"/>
                <a:gd name="connsiteX50" fmla="*/ 259636 w 2386916"/>
                <a:gd name="connsiteY50" fmla="*/ 2219050 h 2870199"/>
                <a:gd name="connsiteX51" fmla="*/ 259636 w 2386916"/>
                <a:gd name="connsiteY51" fmla="*/ 2179227 h 2870199"/>
                <a:gd name="connsiteX52" fmla="*/ 259636 w 2386916"/>
                <a:gd name="connsiteY52" fmla="*/ 2100790 h 2870199"/>
                <a:gd name="connsiteX53" fmla="*/ 259637 w 2386916"/>
                <a:gd name="connsiteY53" fmla="*/ 2100789 h 2870199"/>
                <a:gd name="connsiteX54" fmla="*/ 259637 w 2386916"/>
                <a:gd name="connsiteY54" fmla="*/ 2179226 h 2870199"/>
                <a:gd name="connsiteX55" fmla="*/ 259637 w 2386916"/>
                <a:gd name="connsiteY55" fmla="*/ 2219050 h 2870199"/>
                <a:gd name="connsiteX56" fmla="*/ 283240 w 2386916"/>
                <a:gd name="connsiteY56" fmla="*/ 2230851 h 2870199"/>
                <a:gd name="connsiteX57" fmla="*/ 488603 w 2386916"/>
                <a:gd name="connsiteY57" fmla="*/ 2299306 h 2870199"/>
                <a:gd name="connsiteX58" fmla="*/ 625513 w 2386916"/>
                <a:gd name="connsiteY58" fmla="*/ 2687216 h 2870199"/>
                <a:gd name="connsiteX59" fmla="*/ 922147 w 2386916"/>
                <a:gd name="connsiteY59" fmla="*/ 2527488 h 2870199"/>
                <a:gd name="connsiteX60" fmla="*/ 990601 w 2386916"/>
                <a:gd name="connsiteY60" fmla="*/ 2710033 h 2870199"/>
                <a:gd name="connsiteX61" fmla="*/ 1291542 w 2386916"/>
                <a:gd name="connsiteY61" fmla="*/ 2710033 h 2870199"/>
                <a:gd name="connsiteX62" fmla="*/ 1291542 w 2386916"/>
                <a:gd name="connsiteY62" fmla="*/ 2586036 h 2870199"/>
                <a:gd name="connsiteX63" fmla="*/ 1224867 w 2386916"/>
                <a:gd name="connsiteY63" fmla="*/ 2509836 h 2870199"/>
                <a:gd name="connsiteX64" fmla="*/ 1267729 w 2386916"/>
                <a:gd name="connsiteY64" fmla="*/ 2447923 h 2870199"/>
                <a:gd name="connsiteX65" fmla="*/ 1334404 w 2386916"/>
                <a:gd name="connsiteY65" fmla="*/ 2414586 h 2870199"/>
                <a:gd name="connsiteX66" fmla="*/ 1348692 w 2386916"/>
                <a:gd name="connsiteY66" fmla="*/ 2300286 h 2870199"/>
                <a:gd name="connsiteX67" fmla="*/ 1277254 w 2386916"/>
                <a:gd name="connsiteY67" fmla="*/ 2290761 h 2870199"/>
                <a:gd name="connsiteX68" fmla="*/ 1191529 w 2386916"/>
                <a:gd name="connsiteY68" fmla="*/ 2181223 h 2870199"/>
                <a:gd name="connsiteX69" fmla="*/ 1272492 w 2386916"/>
                <a:gd name="connsiteY69" fmla="*/ 2100261 h 2870199"/>
                <a:gd name="connsiteX70" fmla="*/ 1205817 w 2386916"/>
                <a:gd name="connsiteY70" fmla="*/ 2014536 h 2870199"/>
                <a:gd name="connsiteX71" fmla="*/ 1120092 w 2386916"/>
                <a:gd name="connsiteY71" fmla="*/ 1952623 h 2870199"/>
                <a:gd name="connsiteX72" fmla="*/ 1034367 w 2386916"/>
                <a:gd name="connsiteY72" fmla="*/ 1943098 h 2870199"/>
                <a:gd name="connsiteX73" fmla="*/ 924829 w 2386916"/>
                <a:gd name="connsiteY73" fmla="*/ 1900236 h 2870199"/>
                <a:gd name="connsiteX74" fmla="*/ 662892 w 2386916"/>
                <a:gd name="connsiteY74" fmla="*/ 2047873 h 2870199"/>
                <a:gd name="connsiteX75" fmla="*/ 586692 w 2386916"/>
                <a:gd name="connsiteY75" fmla="*/ 2085973 h 2870199"/>
                <a:gd name="connsiteX76" fmla="*/ 310792 w 2386916"/>
                <a:gd name="connsiteY76" fmla="*/ 2055318 h 2870199"/>
                <a:gd name="connsiteX77" fmla="*/ 330230 w 2386916"/>
                <a:gd name="connsiteY77" fmla="*/ 2038040 h 2870199"/>
                <a:gd name="connsiteX78" fmla="*/ 267480 w 2386916"/>
                <a:gd name="connsiteY78" fmla="*/ 1975290 h 2870199"/>
                <a:gd name="connsiteX79" fmla="*/ 322386 w 2386916"/>
                <a:gd name="connsiteY79" fmla="*/ 1967446 h 2870199"/>
                <a:gd name="connsiteX80" fmla="*/ 369448 w 2386916"/>
                <a:gd name="connsiteY80" fmla="*/ 1904696 h 2870199"/>
                <a:gd name="connsiteX81" fmla="*/ 353761 w 2386916"/>
                <a:gd name="connsiteY81" fmla="*/ 1802728 h 2870199"/>
                <a:gd name="connsiteX82" fmla="*/ 141980 w 2386916"/>
                <a:gd name="connsiteY82" fmla="*/ 1653697 h 2870199"/>
                <a:gd name="connsiteX83" fmla="*/ 87074 w 2386916"/>
                <a:gd name="connsiteY83" fmla="*/ 1520353 h 2870199"/>
                <a:gd name="connsiteX84" fmla="*/ 8637 w 2386916"/>
                <a:gd name="connsiteY84" fmla="*/ 1363478 h 2870199"/>
                <a:gd name="connsiteX85" fmla="*/ 13351 w 2386916"/>
                <a:gd name="connsiteY85" fmla="*/ 1259803 h 2870199"/>
                <a:gd name="connsiteX86" fmla="*/ 0 w 2386916"/>
                <a:gd name="connsiteY86" fmla="*/ 1252520 h 2870199"/>
                <a:gd name="connsiteX87" fmla="*/ 16481 w 2386916"/>
                <a:gd name="connsiteY87" fmla="*/ 1261510 h 2870199"/>
                <a:gd name="connsiteX88" fmla="*/ 79230 w 2386916"/>
                <a:gd name="connsiteY88" fmla="*/ 1136010 h 2870199"/>
                <a:gd name="connsiteX89" fmla="*/ 204730 w 2386916"/>
                <a:gd name="connsiteY89" fmla="*/ 1034041 h 2870199"/>
                <a:gd name="connsiteX90" fmla="*/ 283167 w 2386916"/>
                <a:gd name="connsiteY90" fmla="*/ 979135 h 2870199"/>
                <a:gd name="connsiteX91" fmla="*/ 267480 w 2386916"/>
                <a:gd name="connsiteY91" fmla="*/ 869323 h 2870199"/>
                <a:gd name="connsiteX92" fmla="*/ 267480 w 2386916"/>
                <a:gd name="connsiteY92" fmla="*/ 771161 h 2870199"/>
                <a:gd name="connsiteX93" fmla="*/ 267481 w 2386916"/>
                <a:gd name="connsiteY93" fmla="*/ 771159 h 2870199"/>
                <a:gd name="connsiteX94" fmla="*/ 267481 w 2386916"/>
                <a:gd name="connsiteY94" fmla="*/ 869324 h 2870199"/>
                <a:gd name="connsiteX95" fmla="*/ 279604 w 2386916"/>
                <a:gd name="connsiteY95" fmla="*/ 954186 h 2870199"/>
                <a:gd name="connsiteX96" fmla="*/ 428577 w 2386916"/>
                <a:gd name="connsiteY96" fmla="*/ 899160 h 2870199"/>
                <a:gd name="connsiteX97" fmla="*/ 657177 w 2386916"/>
                <a:gd name="connsiteY97" fmla="*/ 906780 h 2870199"/>
                <a:gd name="connsiteX98" fmla="*/ 725757 w 2386916"/>
                <a:gd name="connsiteY98" fmla="*/ 891540 h 2870199"/>
                <a:gd name="connsiteX99" fmla="*/ 695277 w 2386916"/>
                <a:gd name="connsiteY99" fmla="*/ 731520 h 2870199"/>
                <a:gd name="connsiteX100" fmla="*/ 740997 w 2386916"/>
                <a:gd name="connsiteY100" fmla="*/ 670560 h 2870199"/>
                <a:gd name="connsiteX101" fmla="*/ 763857 w 2386916"/>
                <a:gd name="connsiteY101" fmla="*/ 716280 h 2870199"/>
                <a:gd name="connsiteX102" fmla="*/ 832437 w 2386916"/>
                <a:gd name="connsiteY102" fmla="*/ 716280 h 2870199"/>
                <a:gd name="connsiteX103" fmla="*/ 809577 w 2386916"/>
                <a:gd name="connsiteY103" fmla="*/ 601980 h 2870199"/>
                <a:gd name="connsiteX104" fmla="*/ 984837 w 2386916"/>
                <a:gd name="connsiteY104" fmla="*/ 556260 h 2870199"/>
                <a:gd name="connsiteX105" fmla="*/ 1129617 w 2386916"/>
                <a:gd name="connsiteY105" fmla="*/ 419100 h 2870199"/>
                <a:gd name="connsiteX106" fmla="*/ 1137237 w 2386916"/>
                <a:gd name="connsiteY106" fmla="*/ 472440 h 2870199"/>
                <a:gd name="connsiteX107" fmla="*/ 1274397 w 2386916"/>
                <a:gd name="connsiteY107" fmla="*/ 457200 h 2870199"/>
                <a:gd name="connsiteX108" fmla="*/ 1274397 w 2386916"/>
                <a:gd name="connsiteY108" fmla="*/ 350520 h 2870199"/>
                <a:gd name="connsiteX109" fmla="*/ 1495377 w 2386916"/>
                <a:gd name="connsiteY109" fmla="*/ 304800 h 2870199"/>
                <a:gd name="connsiteX110" fmla="*/ 1663017 w 2386916"/>
                <a:gd name="connsiteY110" fmla="*/ 129540 h 2870199"/>
                <a:gd name="connsiteX111" fmla="*/ 1632537 w 2386916"/>
                <a:gd name="connsiteY111" fmla="*/ 22860 h 2870199"/>
                <a:gd name="connsiteX112" fmla="*/ 1701117 w 2386916"/>
                <a:gd name="connsiteY112" fmla="*/ 0 h 2870199"/>
                <a:gd name="connsiteX0" fmla="*/ 1701117 w 2386916"/>
                <a:gd name="connsiteY0" fmla="*/ 0 h 2870199"/>
                <a:gd name="connsiteX1" fmla="*/ 1701117 w 2386916"/>
                <a:gd name="connsiteY1" fmla="*/ 38100 h 2870199"/>
                <a:gd name="connsiteX2" fmla="*/ 1784937 w 2386916"/>
                <a:gd name="connsiteY2" fmla="*/ 129540 h 2870199"/>
                <a:gd name="connsiteX3" fmla="*/ 1845897 w 2386916"/>
                <a:gd name="connsiteY3" fmla="*/ 167640 h 2870199"/>
                <a:gd name="connsiteX4" fmla="*/ 1838277 w 2386916"/>
                <a:gd name="connsiteY4" fmla="*/ 251460 h 2870199"/>
                <a:gd name="connsiteX5" fmla="*/ 1937337 w 2386916"/>
                <a:gd name="connsiteY5" fmla="*/ 373380 h 2870199"/>
                <a:gd name="connsiteX6" fmla="*/ 2030016 w 2386916"/>
                <a:gd name="connsiteY6" fmla="*/ 360140 h 2870199"/>
                <a:gd name="connsiteX7" fmla="*/ 2037666 w 2386916"/>
                <a:gd name="connsiteY7" fmla="*/ 368300 h 2870199"/>
                <a:gd name="connsiteX8" fmla="*/ 2050366 w 2386916"/>
                <a:gd name="connsiteY8" fmla="*/ 469900 h 2870199"/>
                <a:gd name="connsiteX9" fmla="*/ 2044016 w 2386916"/>
                <a:gd name="connsiteY9" fmla="*/ 577850 h 2870199"/>
                <a:gd name="connsiteX10" fmla="*/ 1961466 w 2386916"/>
                <a:gd name="connsiteY10" fmla="*/ 527050 h 2870199"/>
                <a:gd name="connsiteX11" fmla="*/ 1917016 w 2386916"/>
                <a:gd name="connsiteY11" fmla="*/ 622300 h 2870199"/>
                <a:gd name="connsiteX12" fmla="*/ 1872566 w 2386916"/>
                <a:gd name="connsiteY12" fmla="*/ 762000 h 2870199"/>
                <a:gd name="connsiteX13" fmla="*/ 2012266 w 2386916"/>
                <a:gd name="connsiteY13" fmla="*/ 876300 h 2870199"/>
                <a:gd name="connsiteX14" fmla="*/ 2069416 w 2386916"/>
                <a:gd name="connsiteY14" fmla="*/ 958850 h 2870199"/>
                <a:gd name="connsiteX15" fmla="*/ 1955116 w 2386916"/>
                <a:gd name="connsiteY15" fmla="*/ 958850 h 2870199"/>
                <a:gd name="connsiteX16" fmla="*/ 1980516 w 2386916"/>
                <a:gd name="connsiteY16" fmla="*/ 1035050 h 2870199"/>
                <a:gd name="connsiteX17" fmla="*/ 1904316 w 2386916"/>
                <a:gd name="connsiteY17" fmla="*/ 1028700 h 2870199"/>
                <a:gd name="connsiteX18" fmla="*/ 1815416 w 2386916"/>
                <a:gd name="connsiteY18" fmla="*/ 1092200 h 2870199"/>
                <a:gd name="connsiteX19" fmla="*/ 1859866 w 2386916"/>
                <a:gd name="connsiteY19" fmla="*/ 1187450 h 2870199"/>
                <a:gd name="connsiteX20" fmla="*/ 1790016 w 2386916"/>
                <a:gd name="connsiteY20" fmla="*/ 1174750 h 2870199"/>
                <a:gd name="connsiteX21" fmla="*/ 1732866 w 2386916"/>
                <a:gd name="connsiteY21" fmla="*/ 1257300 h 2870199"/>
                <a:gd name="connsiteX22" fmla="*/ 1834466 w 2386916"/>
                <a:gd name="connsiteY22" fmla="*/ 1384300 h 2870199"/>
                <a:gd name="connsiteX23" fmla="*/ 1974166 w 2386916"/>
                <a:gd name="connsiteY23" fmla="*/ 1346200 h 2870199"/>
                <a:gd name="connsiteX24" fmla="*/ 2164666 w 2386916"/>
                <a:gd name="connsiteY24" fmla="*/ 1320800 h 2870199"/>
                <a:gd name="connsiteX25" fmla="*/ 2266266 w 2386916"/>
                <a:gd name="connsiteY25" fmla="*/ 1530350 h 2870199"/>
                <a:gd name="connsiteX26" fmla="*/ 2310716 w 2386916"/>
                <a:gd name="connsiteY26" fmla="*/ 1676400 h 2870199"/>
                <a:gd name="connsiteX27" fmla="*/ 2367866 w 2386916"/>
                <a:gd name="connsiteY27" fmla="*/ 1689100 h 2870199"/>
                <a:gd name="connsiteX28" fmla="*/ 2247216 w 2386916"/>
                <a:gd name="connsiteY28" fmla="*/ 1803400 h 2870199"/>
                <a:gd name="connsiteX29" fmla="*/ 2317066 w 2386916"/>
                <a:gd name="connsiteY29" fmla="*/ 1981200 h 2870199"/>
                <a:gd name="connsiteX30" fmla="*/ 2348292 w 2386916"/>
                <a:gd name="connsiteY30" fmla="*/ 1998548 h 2870199"/>
                <a:gd name="connsiteX31" fmla="*/ 2323416 w 2386916"/>
                <a:gd name="connsiteY31" fmla="*/ 2012949 h 2870199"/>
                <a:gd name="connsiteX32" fmla="*/ 2329766 w 2386916"/>
                <a:gd name="connsiteY32" fmla="*/ 2171699 h 2870199"/>
                <a:gd name="connsiteX33" fmla="*/ 2386916 w 2386916"/>
                <a:gd name="connsiteY33" fmla="*/ 2197099 h 2870199"/>
                <a:gd name="connsiteX34" fmla="*/ 2329766 w 2386916"/>
                <a:gd name="connsiteY34" fmla="*/ 2349499 h 2870199"/>
                <a:gd name="connsiteX35" fmla="*/ 2374216 w 2386916"/>
                <a:gd name="connsiteY35" fmla="*/ 2419349 h 2870199"/>
                <a:gd name="connsiteX36" fmla="*/ 2266266 w 2386916"/>
                <a:gd name="connsiteY36" fmla="*/ 2527299 h 2870199"/>
                <a:gd name="connsiteX37" fmla="*/ 2304366 w 2386916"/>
                <a:gd name="connsiteY37" fmla="*/ 2546349 h 2870199"/>
                <a:gd name="connsiteX38" fmla="*/ 2215466 w 2386916"/>
                <a:gd name="connsiteY38" fmla="*/ 2736849 h 2870199"/>
                <a:gd name="connsiteX39" fmla="*/ 2139266 w 2386916"/>
                <a:gd name="connsiteY39" fmla="*/ 2870199 h 2870199"/>
                <a:gd name="connsiteX40" fmla="*/ 1697964 w 2386916"/>
                <a:gd name="connsiteY40" fmla="*/ 2801306 h 2870199"/>
                <a:gd name="connsiteX41" fmla="*/ 1424145 w 2386916"/>
                <a:gd name="connsiteY41" fmla="*/ 2824125 h 2870199"/>
                <a:gd name="connsiteX42" fmla="*/ 1332873 w 2386916"/>
                <a:gd name="connsiteY42" fmla="*/ 2710034 h 2870199"/>
                <a:gd name="connsiteX43" fmla="*/ 990600 w 2386916"/>
                <a:gd name="connsiteY43" fmla="*/ 2710034 h 2870199"/>
                <a:gd name="connsiteX44" fmla="*/ 922146 w 2386916"/>
                <a:gd name="connsiteY44" fmla="*/ 2527489 h 2870199"/>
                <a:gd name="connsiteX45" fmla="*/ 625512 w 2386916"/>
                <a:gd name="connsiteY45" fmla="*/ 2687217 h 2870199"/>
                <a:gd name="connsiteX46" fmla="*/ 488602 w 2386916"/>
                <a:gd name="connsiteY46" fmla="*/ 2299307 h 2870199"/>
                <a:gd name="connsiteX47" fmla="*/ 283239 w 2386916"/>
                <a:gd name="connsiteY47" fmla="*/ 2230852 h 2870199"/>
                <a:gd name="connsiteX48" fmla="*/ 259636 w 2386916"/>
                <a:gd name="connsiteY48" fmla="*/ 2219051 h 2870199"/>
                <a:gd name="connsiteX49" fmla="*/ 259636 w 2386916"/>
                <a:gd name="connsiteY49" fmla="*/ 2219050 h 2870199"/>
                <a:gd name="connsiteX50" fmla="*/ 259636 w 2386916"/>
                <a:gd name="connsiteY50" fmla="*/ 2179227 h 2870199"/>
                <a:gd name="connsiteX51" fmla="*/ 259636 w 2386916"/>
                <a:gd name="connsiteY51" fmla="*/ 2100790 h 2870199"/>
                <a:gd name="connsiteX52" fmla="*/ 259637 w 2386916"/>
                <a:gd name="connsiteY52" fmla="*/ 2100789 h 2870199"/>
                <a:gd name="connsiteX53" fmla="*/ 259637 w 2386916"/>
                <a:gd name="connsiteY53" fmla="*/ 2179226 h 2870199"/>
                <a:gd name="connsiteX54" fmla="*/ 259637 w 2386916"/>
                <a:gd name="connsiteY54" fmla="*/ 2219050 h 2870199"/>
                <a:gd name="connsiteX55" fmla="*/ 283240 w 2386916"/>
                <a:gd name="connsiteY55" fmla="*/ 2230851 h 2870199"/>
                <a:gd name="connsiteX56" fmla="*/ 488603 w 2386916"/>
                <a:gd name="connsiteY56" fmla="*/ 2299306 h 2870199"/>
                <a:gd name="connsiteX57" fmla="*/ 625513 w 2386916"/>
                <a:gd name="connsiteY57" fmla="*/ 2687216 h 2870199"/>
                <a:gd name="connsiteX58" fmla="*/ 922147 w 2386916"/>
                <a:gd name="connsiteY58" fmla="*/ 2527488 h 2870199"/>
                <a:gd name="connsiteX59" fmla="*/ 990601 w 2386916"/>
                <a:gd name="connsiteY59" fmla="*/ 2710033 h 2870199"/>
                <a:gd name="connsiteX60" fmla="*/ 1291542 w 2386916"/>
                <a:gd name="connsiteY60" fmla="*/ 2710033 h 2870199"/>
                <a:gd name="connsiteX61" fmla="*/ 1291542 w 2386916"/>
                <a:gd name="connsiteY61" fmla="*/ 2586036 h 2870199"/>
                <a:gd name="connsiteX62" fmla="*/ 1224867 w 2386916"/>
                <a:gd name="connsiteY62" fmla="*/ 2509836 h 2870199"/>
                <a:gd name="connsiteX63" fmla="*/ 1267729 w 2386916"/>
                <a:gd name="connsiteY63" fmla="*/ 2447923 h 2870199"/>
                <a:gd name="connsiteX64" fmla="*/ 1334404 w 2386916"/>
                <a:gd name="connsiteY64" fmla="*/ 2414586 h 2870199"/>
                <a:gd name="connsiteX65" fmla="*/ 1348692 w 2386916"/>
                <a:gd name="connsiteY65" fmla="*/ 2300286 h 2870199"/>
                <a:gd name="connsiteX66" fmla="*/ 1277254 w 2386916"/>
                <a:gd name="connsiteY66" fmla="*/ 2290761 h 2870199"/>
                <a:gd name="connsiteX67" fmla="*/ 1191529 w 2386916"/>
                <a:gd name="connsiteY67" fmla="*/ 2181223 h 2870199"/>
                <a:gd name="connsiteX68" fmla="*/ 1272492 w 2386916"/>
                <a:gd name="connsiteY68" fmla="*/ 2100261 h 2870199"/>
                <a:gd name="connsiteX69" fmla="*/ 1205817 w 2386916"/>
                <a:gd name="connsiteY69" fmla="*/ 2014536 h 2870199"/>
                <a:gd name="connsiteX70" fmla="*/ 1120092 w 2386916"/>
                <a:gd name="connsiteY70" fmla="*/ 1952623 h 2870199"/>
                <a:gd name="connsiteX71" fmla="*/ 1034367 w 2386916"/>
                <a:gd name="connsiteY71" fmla="*/ 1943098 h 2870199"/>
                <a:gd name="connsiteX72" fmla="*/ 924829 w 2386916"/>
                <a:gd name="connsiteY72" fmla="*/ 1900236 h 2870199"/>
                <a:gd name="connsiteX73" fmla="*/ 662892 w 2386916"/>
                <a:gd name="connsiteY73" fmla="*/ 2047873 h 2870199"/>
                <a:gd name="connsiteX74" fmla="*/ 586692 w 2386916"/>
                <a:gd name="connsiteY74" fmla="*/ 2085973 h 2870199"/>
                <a:gd name="connsiteX75" fmla="*/ 310792 w 2386916"/>
                <a:gd name="connsiteY75" fmla="*/ 2055318 h 2870199"/>
                <a:gd name="connsiteX76" fmla="*/ 330230 w 2386916"/>
                <a:gd name="connsiteY76" fmla="*/ 2038040 h 2870199"/>
                <a:gd name="connsiteX77" fmla="*/ 267480 w 2386916"/>
                <a:gd name="connsiteY77" fmla="*/ 1975290 h 2870199"/>
                <a:gd name="connsiteX78" fmla="*/ 322386 w 2386916"/>
                <a:gd name="connsiteY78" fmla="*/ 1967446 h 2870199"/>
                <a:gd name="connsiteX79" fmla="*/ 369448 w 2386916"/>
                <a:gd name="connsiteY79" fmla="*/ 1904696 h 2870199"/>
                <a:gd name="connsiteX80" fmla="*/ 353761 w 2386916"/>
                <a:gd name="connsiteY80" fmla="*/ 1802728 h 2870199"/>
                <a:gd name="connsiteX81" fmla="*/ 141980 w 2386916"/>
                <a:gd name="connsiteY81" fmla="*/ 1653697 h 2870199"/>
                <a:gd name="connsiteX82" fmla="*/ 87074 w 2386916"/>
                <a:gd name="connsiteY82" fmla="*/ 1520353 h 2870199"/>
                <a:gd name="connsiteX83" fmla="*/ 8637 w 2386916"/>
                <a:gd name="connsiteY83" fmla="*/ 1363478 h 2870199"/>
                <a:gd name="connsiteX84" fmla="*/ 13351 w 2386916"/>
                <a:gd name="connsiteY84" fmla="*/ 1259803 h 2870199"/>
                <a:gd name="connsiteX85" fmla="*/ 0 w 2386916"/>
                <a:gd name="connsiteY85" fmla="*/ 1252520 h 2870199"/>
                <a:gd name="connsiteX86" fmla="*/ 16481 w 2386916"/>
                <a:gd name="connsiteY86" fmla="*/ 1261510 h 2870199"/>
                <a:gd name="connsiteX87" fmla="*/ 79230 w 2386916"/>
                <a:gd name="connsiteY87" fmla="*/ 1136010 h 2870199"/>
                <a:gd name="connsiteX88" fmla="*/ 204730 w 2386916"/>
                <a:gd name="connsiteY88" fmla="*/ 1034041 h 2870199"/>
                <a:gd name="connsiteX89" fmla="*/ 283167 w 2386916"/>
                <a:gd name="connsiteY89" fmla="*/ 979135 h 2870199"/>
                <a:gd name="connsiteX90" fmla="*/ 267480 w 2386916"/>
                <a:gd name="connsiteY90" fmla="*/ 869323 h 2870199"/>
                <a:gd name="connsiteX91" fmla="*/ 267480 w 2386916"/>
                <a:gd name="connsiteY91" fmla="*/ 771161 h 2870199"/>
                <a:gd name="connsiteX92" fmla="*/ 267481 w 2386916"/>
                <a:gd name="connsiteY92" fmla="*/ 771159 h 2870199"/>
                <a:gd name="connsiteX93" fmla="*/ 267481 w 2386916"/>
                <a:gd name="connsiteY93" fmla="*/ 869324 h 2870199"/>
                <a:gd name="connsiteX94" fmla="*/ 279604 w 2386916"/>
                <a:gd name="connsiteY94" fmla="*/ 954186 h 2870199"/>
                <a:gd name="connsiteX95" fmla="*/ 428577 w 2386916"/>
                <a:gd name="connsiteY95" fmla="*/ 899160 h 2870199"/>
                <a:gd name="connsiteX96" fmla="*/ 657177 w 2386916"/>
                <a:gd name="connsiteY96" fmla="*/ 906780 h 2870199"/>
                <a:gd name="connsiteX97" fmla="*/ 725757 w 2386916"/>
                <a:gd name="connsiteY97" fmla="*/ 891540 h 2870199"/>
                <a:gd name="connsiteX98" fmla="*/ 695277 w 2386916"/>
                <a:gd name="connsiteY98" fmla="*/ 731520 h 2870199"/>
                <a:gd name="connsiteX99" fmla="*/ 740997 w 2386916"/>
                <a:gd name="connsiteY99" fmla="*/ 670560 h 2870199"/>
                <a:gd name="connsiteX100" fmla="*/ 763857 w 2386916"/>
                <a:gd name="connsiteY100" fmla="*/ 716280 h 2870199"/>
                <a:gd name="connsiteX101" fmla="*/ 832437 w 2386916"/>
                <a:gd name="connsiteY101" fmla="*/ 716280 h 2870199"/>
                <a:gd name="connsiteX102" fmla="*/ 809577 w 2386916"/>
                <a:gd name="connsiteY102" fmla="*/ 601980 h 2870199"/>
                <a:gd name="connsiteX103" fmla="*/ 984837 w 2386916"/>
                <a:gd name="connsiteY103" fmla="*/ 556260 h 2870199"/>
                <a:gd name="connsiteX104" fmla="*/ 1129617 w 2386916"/>
                <a:gd name="connsiteY104" fmla="*/ 419100 h 2870199"/>
                <a:gd name="connsiteX105" fmla="*/ 1137237 w 2386916"/>
                <a:gd name="connsiteY105" fmla="*/ 472440 h 2870199"/>
                <a:gd name="connsiteX106" fmla="*/ 1274397 w 2386916"/>
                <a:gd name="connsiteY106" fmla="*/ 457200 h 2870199"/>
                <a:gd name="connsiteX107" fmla="*/ 1274397 w 2386916"/>
                <a:gd name="connsiteY107" fmla="*/ 350520 h 2870199"/>
                <a:gd name="connsiteX108" fmla="*/ 1495377 w 2386916"/>
                <a:gd name="connsiteY108" fmla="*/ 304800 h 2870199"/>
                <a:gd name="connsiteX109" fmla="*/ 1663017 w 2386916"/>
                <a:gd name="connsiteY109" fmla="*/ 129540 h 2870199"/>
                <a:gd name="connsiteX110" fmla="*/ 1632537 w 2386916"/>
                <a:gd name="connsiteY110" fmla="*/ 22860 h 2870199"/>
                <a:gd name="connsiteX111" fmla="*/ 1701117 w 2386916"/>
                <a:gd name="connsiteY111" fmla="*/ 0 h 2870199"/>
                <a:gd name="connsiteX0" fmla="*/ 1701117 w 2386916"/>
                <a:gd name="connsiteY0" fmla="*/ 0 h 2970212"/>
                <a:gd name="connsiteX1" fmla="*/ 1701117 w 2386916"/>
                <a:gd name="connsiteY1" fmla="*/ 38100 h 2970212"/>
                <a:gd name="connsiteX2" fmla="*/ 1784937 w 2386916"/>
                <a:gd name="connsiteY2" fmla="*/ 129540 h 2970212"/>
                <a:gd name="connsiteX3" fmla="*/ 1845897 w 2386916"/>
                <a:gd name="connsiteY3" fmla="*/ 167640 h 2970212"/>
                <a:gd name="connsiteX4" fmla="*/ 1838277 w 2386916"/>
                <a:gd name="connsiteY4" fmla="*/ 251460 h 2970212"/>
                <a:gd name="connsiteX5" fmla="*/ 1937337 w 2386916"/>
                <a:gd name="connsiteY5" fmla="*/ 373380 h 2970212"/>
                <a:gd name="connsiteX6" fmla="*/ 2030016 w 2386916"/>
                <a:gd name="connsiteY6" fmla="*/ 360140 h 2970212"/>
                <a:gd name="connsiteX7" fmla="*/ 2037666 w 2386916"/>
                <a:gd name="connsiteY7" fmla="*/ 368300 h 2970212"/>
                <a:gd name="connsiteX8" fmla="*/ 2050366 w 2386916"/>
                <a:gd name="connsiteY8" fmla="*/ 469900 h 2970212"/>
                <a:gd name="connsiteX9" fmla="*/ 2044016 w 2386916"/>
                <a:gd name="connsiteY9" fmla="*/ 577850 h 2970212"/>
                <a:gd name="connsiteX10" fmla="*/ 1961466 w 2386916"/>
                <a:gd name="connsiteY10" fmla="*/ 527050 h 2970212"/>
                <a:gd name="connsiteX11" fmla="*/ 1917016 w 2386916"/>
                <a:gd name="connsiteY11" fmla="*/ 622300 h 2970212"/>
                <a:gd name="connsiteX12" fmla="*/ 1872566 w 2386916"/>
                <a:gd name="connsiteY12" fmla="*/ 762000 h 2970212"/>
                <a:gd name="connsiteX13" fmla="*/ 2012266 w 2386916"/>
                <a:gd name="connsiteY13" fmla="*/ 876300 h 2970212"/>
                <a:gd name="connsiteX14" fmla="*/ 2069416 w 2386916"/>
                <a:gd name="connsiteY14" fmla="*/ 958850 h 2970212"/>
                <a:gd name="connsiteX15" fmla="*/ 1955116 w 2386916"/>
                <a:gd name="connsiteY15" fmla="*/ 958850 h 2970212"/>
                <a:gd name="connsiteX16" fmla="*/ 1980516 w 2386916"/>
                <a:gd name="connsiteY16" fmla="*/ 1035050 h 2970212"/>
                <a:gd name="connsiteX17" fmla="*/ 1904316 w 2386916"/>
                <a:gd name="connsiteY17" fmla="*/ 1028700 h 2970212"/>
                <a:gd name="connsiteX18" fmla="*/ 1815416 w 2386916"/>
                <a:gd name="connsiteY18" fmla="*/ 1092200 h 2970212"/>
                <a:gd name="connsiteX19" fmla="*/ 1859866 w 2386916"/>
                <a:gd name="connsiteY19" fmla="*/ 1187450 h 2970212"/>
                <a:gd name="connsiteX20" fmla="*/ 1790016 w 2386916"/>
                <a:gd name="connsiteY20" fmla="*/ 1174750 h 2970212"/>
                <a:gd name="connsiteX21" fmla="*/ 1732866 w 2386916"/>
                <a:gd name="connsiteY21" fmla="*/ 1257300 h 2970212"/>
                <a:gd name="connsiteX22" fmla="*/ 1834466 w 2386916"/>
                <a:gd name="connsiteY22" fmla="*/ 1384300 h 2970212"/>
                <a:gd name="connsiteX23" fmla="*/ 1974166 w 2386916"/>
                <a:gd name="connsiteY23" fmla="*/ 1346200 h 2970212"/>
                <a:gd name="connsiteX24" fmla="*/ 2164666 w 2386916"/>
                <a:gd name="connsiteY24" fmla="*/ 1320800 h 2970212"/>
                <a:gd name="connsiteX25" fmla="*/ 2266266 w 2386916"/>
                <a:gd name="connsiteY25" fmla="*/ 1530350 h 2970212"/>
                <a:gd name="connsiteX26" fmla="*/ 2310716 w 2386916"/>
                <a:gd name="connsiteY26" fmla="*/ 1676400 h 2970212"/>
                <a:gd name="connsiteX27" fmla="*/ 2367866 w 2386916"/>
                <a:gd name="connsiteY27" fmla="*/ 1689100 h 2970212"/>
                <a:gd name="connsiteX28" fmla="*/ 2247216 w 2386916"/>
                <a:gd name="connsiteY28" fmla="*/ 1803400 h 2970212"/>
                <a:gd name="connsiteX29" fmla="*/ 2317066 w 2386916"/>
                <a:gd name="connsiteY29" fmla="*/ 1981200 h 2970212"/>
                <a:gd name="connsiteX30" fmla="*/ 2348292 w 2386916"/>
                <a:gd name="connsiteY30" fmla="*/ 1998548 h 2970212"/>
                <a:gd name="connsiteX31" fmla="*/ 2323416 w 2386916"/>
                <a:gd name="connsiteY31" fmla="*/ 2012949 h 2970212"/>
                <a:gd name="connsiteX32" fmla="*/ 2329766 w 2386916"/>
                <a:gd name="connsiteY32" fmla="*/ 2171699 h 2970212"/>
                <a:gd name="connsiteX33" fmla="*/ 2386916 w 2386916"/>
                <a:gd name="connsiteY33" fmla="*/ 2197099 h 2970212"/>
                <a:gd name="connsiteX34" fmla="*/ 2329766 w 2386916"/>
                <a:gd name="connsiteY34" fmla="*/ 2349499 h 2970212"/>
                <a:gd name="connsiteX35" fmla="*/ 2374216 w 2386916"/>
                <a:gd name="connsiteY35" fmla="*/ 2419349 h 2970212"/>
                <a:gd name="connsiteX36" fmla="*/ 2266266 w 2386916"/>
                <a:gd name="connsiteY36" fmla="*/ 2527299 h 2970212"/>
                <a:gd name="connsiteX37" fmla="*/ 2304366 w 2386916"/>
                <a:gd name="connsiteY37" fmla="*/ 2546349 h 2970212"/>
                <a:gd name="connsiteX38" fmla="*/ 2215466 w 2386916"/>
                <a:gd name="connsiteY38" fmla="*/ 2736849 h 2970212"/>
                <a:gd name="connsiteX39" fmla="*/ 2063066 w 2386916"/>
                <a:gd name="connsiteY39" fmla="*/ 2970212 h 2970212"/>
                <a:gd name="connsiteX40" fmla="*/ 1697964 w 2386916"/>
                <a:gd name="connsiteY40" fmla="*/ 2801306 h 2970212"/>
                <a:gd name="connsiteX41" fmla="*/ 1424145 w 2386916"/>
                <a:gd name="connsiteY41" fmla="*/ 2824125 h 2970212"/>
                <a:gd name="connsiteX42" fmla="*/ 1332873 w 2386916"/>
                <a:gd name="connsiteY42" fmla="*/ 2710034 h 2970212"/>
                <a:gd name="connsiteX43" fmla="*/ 990600 w 2386916"/>
                <a:gd name="connsiteY43" fmla="*/ 2710034 h 2970212"/>
                <a:gd name="connsiteX44" fmla="*/ 922146 w 2386916"/>
                <a:gd name="connsiteY44" fmla="*/ 2527489 h 2970212"/>
                <a:gd name="connsiteX45" fmla="*/ 625512 w 2386916"/>
                <a:gd name="connsiteY45" fmla="*/ 2687217 h 2970212"/>
                <a:gd name="connsiteX46" fmla="*/ 488602 w 2386916"/>
                <a:gd name="connsiteY46" fmla="*/ 2299307 h 2970212"/>
                <a:gd name="connsiteX47" fmla="*/ 283239 w 2386916"/>
                <a:gd name="connsiteY47" fmla="*/ 2230852 h 2970212"/>
                <a:gd name="connsiteX48" fmla="*/ 259636 w 2386916"/>
                <a:gd name="connsiteY48" fmla="*/ 2219051 h 2970212"/>
                <a:gd name="connsiteX49" fmla="*/ 259636 w 2386916"/>
                <a:gd name="connsiteY49" fmla="*/ 2219050 h 2970212"/>
                <a:gd name="connsiteX50" fmla="*/ 259636 w 2386916"/>
                <a:gd name="connsiteY50" fmla="*/ 2179227 h 2970212"/>
                <a:gd name="connsiteX51" fmla="*/ 259636 w 2386916"/>
                <a:gd name="connsiteY51" fmla="*/ 2100790 h 2970212"/>
                <a:gd name="connsiteX52" fmla="*/ 259637 w 2386916"/>
                <a:gd name="connsiteY52" fmla="*/ 2100789 h 2970212"/>
                <a:gd name="connsiteX53" fmla="*/ 259637 w 2386916"/>
                <a:gd name="connsiteY53" fmla="*/ 2179226 h 2970212"/>
                <a:gd name="connsiteX54" fmla="*/ 259637 w 2386916"/>
                <a:gd name="connsiteY54" fmla="*/ 2219050 h 2970212"/>
                <a:gd name="connsiteX55" fmla="*/ 283240 w 2386916"/>
                <a:gd name="connsiteY55" fmla="*/ 2230851 h 2970212"/>
                <a:gd name="connsiteX56" fmla="*/ 488603 w 2386916"/>
                <a:gd name="connsiteY56" fmla="*/ 2299306 h 2970212"/>
                <a:gd name="connsiteX57" fmla="*/ 625513 w 2386916"/>
                <a:gd name="connsiteY57" fmla="*/ 2687216 h 2970212"/>
                <a:gd name="connsiteX58" fmla="*/ 922147 w 2386916"/>
                <a:gd name="connsiteY58" fmla="*/ 2527488 h 2970212"/>
                <a:gd name="connsiteX59" fmla="*/ 990601 w 2386916"/>
                <a:gd name="connsiteY59" fmla="*/ 2710033 h 2970212"/>
                <a:gd name="connsiteX60" fmla="*/ 1291542 w 2386916"/>
                <a:gd name="connsiteY60" fmla="*/ 2710033 h 2970212"/>
                <a:gd name="connsiteX61" fmla="*/ 1291542 w 2386916"/>
                <a:gd name="connsiteY61" fmla="*/ 2586036 h 2970212"/>
                <a:gd name="connsiteX62" fmla="*/ 1224867 w 2386916"/>
                <a:gd name="connsiteY62" fmla="*/ 2509836 h 2970212"/>
                <a:gd name="connsiteX63" fmla="*/ 1267729 w 2386916"/>
                <a:gd name="connsiteY63" fmla="*/ 2447923 h 2970212"/>
                <a:gd name="connsiteX64" fmla="*/ 1334404 w 2386916"/>
                <a:gd name="connsiteY64" fmla="*/ 2414586 h 2970212"/>
                <a:gd name="connsiteX65" fmla="*/ 1348692 w 2386916"/>
                <a:gd name="connsiteY65" fmla="*/ 2300286 h 2970212"/>
                <a:gd name="connsiteX66" fmla="*/ 1277254 w 2386916"/>
                <a:gd name="connsiteY66" fmla="*/ 2290761 h 2970212"/>
                <a:gd name="connsiteX67" fmla="*/ 1191529 w 2386916"/>
                <a:gd name="connsiteY67" fmla="*/ 2181223 h 2970212"/>
                <a:gd name="connsiteX68" fmla="*/ 1272492 w 2386916"/>
                <a:gd name="connsiteY68" fmla="*/ 2100261 h 2970212"/>
                <a:gd name="connsiteX69" fmla="*/ 1205817 w 2386916"/>
                <a:gd name="connsiteY69" fmla="*/ 2014536 h 2970212"/>
                <a:gd name="connsiteX70" fmla="*/ 1120092 w 2386916"/>
                <a:gd name="connsiteY70" fmla="*/ 1952623 h 2970212"/>
                <a:gd name="connsiteX71" fmla="*/ 1034367 w 2386916"/>
                <a:gd name="connsiteY71" fmla="*/ 1943098 h 2970212"/>
                <a:gd name="connsiteX72" fmla="*/ 924829 w 2386916"/>
                <a:gd name="connsiteY72" fmla="*/ 1900236 h 2970212"/>
                <a:gd name="connsiteX73" fmla="*/ 662892 w 2386916"/>
                <a:gd name="connsiteY73" fmla="*/ 2047873 h 2970212"/>
                <a:gd name="connsiteX74" fmla="*/ 586692 w 2386916"/>
                <a:gd name="connsiteY74" fmla="*/ 2085973 h 2970212"/>
                <a:gd name="connsiteX75" fmla="*/ 310792 w 2386916"/>
                <a:gd name="connsiteY75" fmla="*/ 2055318 h 2970212"/>
                <a:gd name="connsiteX76" fmla="*/ 330230 w 2386916"/>
                <a:gd name="connsiteY76" fmla="*/ 2038040 h 2970212"/>
                <a:gd name="connsiteX77" fmla="*/ 267480 w 2386916"/>
                <a:gd name="connsiteY77" fmla="*/ 1975290 h 2970212"/>
                <a:gd name="connsiteX78" fmla="*/ 322386 w 2386916"/>
                <a:gd name="connsiteY78" fmla="*/ 1967446 h 2970212"/>
                <a:gd name="connsiteX79" fmla="*/ 369448 w 2386916"/>
                <a:gd name="connsiteY79" fmla="*/ 1904696 h 2970212"/>
                <a:gd name="connsiteX80" fmla="*/ 353761 w 2386916"/>
                <a:gd name="connsiteY80" fmla="*/ 1802728 h 2970212"/>
                <a:gd name="connsiteX81" fmla="*/ 141980 w 2386916"/>
                <a:gd name="connsiteY81" fmla="*/ 1653697 h 2970212"/>
                <a:gd name="connsiteX82" fmla="*/ 87074 w 2386916"/>
                <a:gd name="connsiteY82" fmla="*/ 1520353 h 2970212"/>
                <a:gd name="connsiteX83" fmla="*/ 8637 w 2386916"/>
                <a:gd name="connsiteY83" fmla="*/ 1363478 h 2970212"/>
                <a:gd name="connsiteX84" fmla="*/ 13351 w 2386916"/>
                <a:gd name="connsiteY84" fmla="*/ 1259803 h 2970212"/>
                <a:gd name="connsiteX85" fmla="*/ 0 w 2386916"/>
                <a:gd name="connsiteY85" fmla="*/ 1252520 h 2970212"/>
                <a:gd name="connsiteX86" fmla="*/ 16481 w 2386916"/>
                <a:gd name="connsiteY86" fmla="*/ 1261510 h 2970212"/>
                <a:gd name="connsiteX87" fmla="*/ 79230 w 2386916"/>
                <a:gd name="connsiteY87" fmla="*/ 1136010 h 2970212"/>
                <a:gd name="connsiteX88" fmla="*/ 204730 w 2386916"/>
                <a:gd name="connsiteY88" fmla="*/ 1034041 h 2970212"/>
                <a:gd name="connsiteX89" fmla="*/ 283167 w 2386916"/>
                <a:gd name="connsiteY89" fmla="*/ 979135 h 2970212"/>
                <a:gd name="connsiteX90" fmla="*/ 267480 w 2386916"/>
                <a:gd name="connsiteY90" fmla="*/ 869323 h 2970212"/>
                <a:gd name="connsiteX91" fmla="*/ 267480 w 2386916"/>
                <a:gd name="connsiteY91" fmla="*/ 771161 h 2970212"/>
                <a:gd name="connsiteX92" fmla="*/ 267481 w 2386916"/>
                <a:gd name="connsiteY92" fmla="*/ 771159 h 2970212"/>
                <a:gd name="connsiteX93" fmla="*/ 267481 w 2386916"/>
                <a:gd name="connsiteY93" fmla="*/ 869324 h 2970212"/>
                <a:gd name="connsiteX94" fmla="*/ 279604 w 2386916"/>
                <a:gd name="connsiteY94" fmla="*/ 954186 h 2970212"/>
                <a:gd name="connsiteX95" fmla="*/ 428577 w 2386916"/>
                <a:gd name="connsiteY95" fmla="*/ 899160 h 2970212"/>
                <a:gd name="connsiteX96" fmla="*/ 657177 w 2386916"/>
                <a:gd name="connsiteY96" fmla="*/ 906780 h 2970212"/>
                <a:gd name="connsiteX97" fmla="*/ 725757 w 2386916"/>
                <a:gd name="connsiteY97" fmla="*/ 891540 h 2970212"/>
                <a:gd name="connsiteX98" fmla="*/ 695277 w 2386916"/>
                <a:gd name="connsiteY98" fmla="*/ 731520 h 2970212"/>
                <a:gd name="connsiteX99" fmla="*/ 740997 w 2386916"/>
                <a:gd name="connsiteY99" fmla="*/ 670560 h 2970212"/>
                <a:gd name="connsiteX100" fmla="*/ 763857 w 2386916"/>
                <a:gd name="connsiteY100" fmla="*/ 716280 h 2970212"/>
                <a:gd name="connsiteX101" fmla="*/ 832437 w 2386916"/>
                <a:gd name="connsiteY101" fmla="*/ 716280 h 2970212"/>
                <a:gd name="connsiteX102" fmla="*/ 809577 w 2386916"/>
                <a:gd name="connsiteY102" fmla="*/ 601980 h 2970212"/>
                <a:gd name="connsiteX103" fmla="*/ 984837 w 2386916"/>
                <a:gd name="connsiteY103" fmla="*/ 556260 h 2970212"/>
                <a:gd name="connsiteX104" fmla="*/ 1129617 w 2386916"/>
                <a:gd name="connsiteY104" fmla="*/ 419100 h 2970212"/>
                <a:gd name="connsiteX105" fmla="*/ 1137237 w 2386916"/>
                <a:gd name="connsiteY105" fmla="*/ 472440 h 2970212"/>
                <a:gd name="connsiteX106" fmla="*/ 1274397 w 2386916"/>
                <a:gd name="connsiteY106" fmla="*/ 457200 h 2970212"/>
                <a:gd name="connsiteX107" fmla="*/ 1274397 w 2386916"/>
                <a:gd name="connsiteY107" fmla="*/ 350520 h 2970212"/>
                <a:gd name="connsiteX108" fmla="*/ 1495377 w 2386916"/>
                <a:gd name="connsiteY108" fmla="*/ 304800 h 2970212"/>
                <a:gd name="connsiteX109" fmla="*/ 1663017 w 2386916"/>
                <a:gd name="connsiteY109" fmla="*/ 129540 h 2970212"/>
                <a:gd name="connsiteX110" fmla="*/ 1632537 w 2386916"/>
                <a:gd name="connsiteY110" fmla="*/ 22860 h 2970212"/>
                <a:gd name="connsiteX111" fmla="*/ 1701117 w 2386916"/>
                <a:gd name="connsiteY111" fmla="*/ 0 h 2970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2386916" h="2970212">
                  <a:moveTo>
                    <a:pt x="1701117" y="0"/>
                  </a:moveTo>
                  <a:lnTo>
                    <a:pt x="1701117" y="38100"/>
                  </a:lnTo>
                  <a:lnTo>
                    <a:pt x="1784937" y="129540"/>
                  </a:lnTo>
                  <a:lnTo>
                    <a:pt x="1845897" y="167640"/>
                  </a:lnTo>
                  <a:lnTo>
                    <a:pt x="1838277" y="251460"/>
                  </a:lnTo>
                  <a:lnTo>
                    <a:pt x="1937337" y="373380"/>
                  </a:lnTo>
                  <a:lnTo>
                    <a:pt x="2030016" y="360140"/>
                  </a:lnTo>
                  <a:lnTo>
                    <a:pt x="2037666" y="368300"/>
                  </a:lnTo>
                  <a:lnTo>
                    <a:pt x="2050366" y="469900"/>
                  </a:lnTo>
                  <a:lnTo>
                    <a:pt x="2044016" y="577850"/>
                  </a:lnTo>
                  <a:lnTo>
                    <a:pt x="1961466" y="527050"/>
                  </a:lnTo>
                  <a:lnTo>
                    <a:pt x="1917016" y="622300"/>
                  </a:lnTo>
                  <a:lnTo>
                    <a:pt x="1872566" y="762000"/>
                  </a:lnTo>
                  <a:lnTo>
                    <a:pt x="2012266" y="876300"/>
                  </a:lnTo>
                  <a:lnTo>
                    <a:pt x="2069416" y="958850"/>
                  </a:lnTo>
                  <a:lnTo>
                    <a:pt x="1955116" y="958850"/>
                  </a:lnTo>
                  <a:lnTo>
                    <a:pt x="1980516" y="1035050"/>
                  </a:lnTo>
                  <a:lnTo>
                    <a:pt x="1904316" y="1028700"/>
                  </a:lnTo>
                  <a:lnTo>
                    <a:pt x="1815416" y="1092200"/>
                  </a:lnTo>
                  <a:lnTo>
                    <a:pt x="1859866" y="1187450"/>
                  </a:lnTo>
                  <a:lnTo>
                    <a:pt x="1790016" y="1174750"/>
                  </a:lnTo>
                  <a:lnTo>
                    <a:pt x="1732866" y="1257300"/>
                  </a:lnTo>
                  <a:lnTo>
                    <a:pt x="1834466" y="1384300"/>
                  </a:lnTo>
                  <a:lnTo>
                    <a:pt x="1974166" y="1346200"/>
                  </a:lnTo>
                  <a:lnTo>
                    <a:pt x="2164666" y="1320800"/>
                  </a:lnTo>
                  <a:lnTo>
                    <a:pt x="2266266" y="1530350"/>
                  </a:lnTo>
                  <a:lnTo>
                    <a:pt x="2310716" y="1676400"/>
                  </a:lnTo>
                  <a:lnTo>
                    <a:pt x="2367866" y="1689100"/>
                  </a:lnTo>
                  <a:lnTo>
                    <a:pt x="2247216" y="1803400"/>
                  </a:lnTo>
                  <a:lnTo>
                    <a:pt x="2317066" y="1981200"/>
                  </a:lnTo>
                  <a:lnTo>
                    <a:pt x="2348292" y="1998548"/>
                  </a:lnTo>
                  <a:lnTo>
                    <a:pt x="2323416" y="2012949"/>
                  </a:lnTo>
                  <a:lnTo>
                    <a:pt x="2329766" y="2171699"/>
                  </a:lnTo>
                  <a:lnTo>
                    <a:pt x="2386916" y="2197099"/>
                  </a:lnTo>
                  <a:lnTo>
                    <a:pt x="2329766" y="2349499"/>
                  </a:lnTo>
                  <a:lnTo>
                    <a:pt x="2374216" y="2419349"/>
                  </a:lnTo>
                  <a:lnTo>
                    <a:pt x="2266266" y="2527299"/>
                  </a:lnTo>
                  <a:lnTo>
                    <a:pt x="2304366" y="2546349"/>
                  </a:lnTo>
                  <a:lnTo>
                    <a:pt x="2215466" y="2736849"/>
                  </a:lnTo>
                  <a:lnTo>
                    <a:pt x="2063066" y="2970212"/>
                  </a:lnTo>
                  <a:lnTo>
                    <a:pt x="1697964" y="2801306"/>
                  </a:lnTo>
                  <a:lnTo>
                    <a:pt x="1424145" y="2824125"/>
                  </a:lnTo>
                  <a:lnTo>
                    <a:pt x="1332873" y="2710034"/>
                  </a:lnTo>
                  <a:lnTo>
                    <a:pt x="990600" y="2710034"/>
                  </a:lnTo>
                  <a:lnTo>
                    <a:pt x="922146" y="2527489"/>
                  </a:lnTo>
                  <a:lnTo>
                    <a:pt x="625512" y="2687217"/>
                  </a:lnTo>
                  <a:lnTo>
                    <a:pt x="488602" y="2299307"/>
                  </a:lnTo>
                  <a:lnTo>
                    <a:pt x="283239" y="2230852"/>
                  </a:lnTo>
                  <a:lnTo>
                    <a:pt x="259636" y="2219051"/>
                  </a:lnTo>
                  <a:lnTo>
                    <a:pt x="259636" y="2219050"/>
                  </a:lnTo>
                  <a:lnTo>
                    <a:pt x="259636" y="2179227"/>
                  </a:lnTo>
                  <a:lnTo>
                    <a:pt x="259636" y="2100790"/>
                  </a:lnTo>
                  <a:lnTo>
                    <a:pt x="259637" y="2100789"/>
                  </a:lnTo>
                  <a:lnTo>
                    <a:pt x="259637" y="2179226"/>
                  </a:lnTo>
                  <a:lnTo>
                    <a:pt x="259637" y="2219050"/>
                  </a:lnTo>
                  <a:lnTo>
                    <a:pt x="283240" y="2230851"/>
                  </a:lnTo>
                  <a:lnTo>
                    <a:pt x="488603" y="2299306"/>
                  </a:lnTo>
                  <a:lnTo>
                    <a:pt x="625513" y="2687216"/>
                  </a:lnTo>
                  <a:lnTo>
                    <a:pt x="922147" y="2527488"/>
                  </a:lnTo>
                  <a:lnTo>
                    <a:pt x="990601" y="2710033"/>
                  </a:lnTo>
                  <a:lnTo>
                    <a:pt x="1291542" y="2710033"/>
                  </a:lnTo>
                  <a:lnTo>
                    <a:pt x="1291542" y="2586036"/>
                  </a:lnTo>
                  <a:lnTo>
                    <a:pt x="1224867" y="2509836"/>
                  </a:lnTo>
                  <a:lnTo>
                    <a:pt x="1267729" y="2447923"/>
                  </a:lnTo>
                  <a:lnTo>
                    <a:pt x="1334404" y="2414586"/>
                  </a:lnTo>
                  <a:lnTo>
                    <a:pt x="1348692" y="2300286"/>
                  </a:lnTo>
                  <a:lnTo>
                    <a:pt x="1277254" y="2290761"/>
                  </a:lnTo>
                  <a:lnTo>
                    <a:pt x="1191529" y="2181223"/>
                  </a:lnTo>
                  <a:lnTo>
                    <a:pt x="1272492" y="2100261"/>
                  </a:lnTo>
                  <a:lnTo>
                    <a:pt x="1205817" y="2014536"/>
                  </a:lnTo>
                  <a:lnTo>
                    <a:pt x="1120092" y="1952623"/>
                  </a:lnTo>
                  <a:lnTo>
                    <a:pt x="1034367" y="1943098"/>
                  </a:lnTo>
                  <a:lnTo>
                    <a:pt x="924829" y="1900236"/>
                  </a:lnTo>
                  <a:lnTo>
                    <a:pt x="662892" y="2047873"/>
                  </a:lnTo>
                  <a:lnTo>
                    <a:pt x="586692" y="2085973"/>
                  </a:lnTo>
                  <a:lnTo>
                    <a:pt x="310792" y="2055318"/>
                  </a:lnTo>
                  <a:lnTo>
                    <a:pt x="330230" y="2038040"/>
                  </a:lnTo>
                  <a:lnTo>
                    <a:pt x="267480" y="1975290"/>
                  </a:lnTo>
                  <a:lnTo>
                    <a:pt x="322386" y="1967446"/>
                  </a:lnTo>
                  <a:lnTo>
                    <a:pt x="369448" y="1904696"/>
                  </a:lnTo>
                  <a:lnTo>
                    <a:pt x="353761" y="1802728"/>
                  </a:lnTo>
                  <a:lnTo>
                    <a:pt x="141980" y="1653697"/>
                  </a:lnTo>
                  <a:lnTo>
                    <a:pt x="87074" y="1520353"/>
                  </a:lnTo>
                  <a:lnTo>
                    <a:pt x="8637" y="1363478"/>
                  </a:lnTo>
                  <a:lnTo>
                    <a:pt x="13351" y="1259803"/>
                  </a:lnTo>
                  <a:lnTo>
                    <a:pt x="0" y="1252520"/>
                  </a:lnTo>
                  <a:lnTo>
                    <a:pt x="16481" y="1261510"/>
                  </a:lnTo>
                  <a:lnTo>
                    <a:pt x="79230" y="1136010"/>
                  </a:lnTo>
                  <a:lnTo>
                    <a:pt x="204730" y="1034041"/>
                  </a:lnTo>
                  <a:lnTo>
                    <a:pt x="283167" y="979135"/>
                  </a:lnTo>
                  <a:lnTo>
                    <a:pt x="267480" y="869323"/>
                  </a:lnTo>
                  <a:lnTo>
                    <a:pt x="267480" y="771161"/>
                  </a:lnTo>
                  <a:cubicBezTo>
                    <a:pt x="267480" y="771160"/>
                    <a:pt x="267481" y="771160"/>
                    <a:pt x="267481" y="771159"/>
                  </a:cubicBezTo>
                  <a:lnTo>
                    <a:pt x="267481" y="869324"/>
                  </a:lnTo>
                  <a:lnTo>
                    <a:pt x="279604" y="954186"/>
                  </a:lnTo>
                  <a:lnTo>
                    <a:pt x="428577" y="899160"/>
                  </a:lnTo>
                  <a:lnTo>
                    <a:pt x="657177" y="906780"/>
                  </a:lnTo>
                  <a:lnTo>
                    <a:pt x="725757" y="891540"/>
                  </a:lnTo>
                  <a:lnTo>
                    <a:pt x="695277" y="731520"/>
                  </a:lnTo>
                  <a:lnTo>
                    <a:pt x="740997" y="670560"/>
                  </a:lnTo>
                  <a:lnTo>
                    <a:pt x="763857" y="716280"/>
                  </a:lnTo>
                  <a:lnTo>
                    <a:pt x="832437" y="716280"/>
                  </a:lnTo>
                  <a:lnTo>
                    <a:pt x="809577" y="601980"/>
                  </a:lnTo>
                  <a:lnTo>
                    <a:pt x="984837" y="556260"/>
                  </a:lnTo>
                  <a:lnTo>
                    <a:pt x="1129617" y="419100"/>
                  </a:lnTo>
                  <a:lnTo>
                    <a:pt x="1137237" y="472440"/>
                  </a:lnTo>
                  <a:lnTo>
                    <a:pt x="1274397" y="457200"/>
                  </a:lnTo>
                  <a:lnTo>
                    <a:pt x="1274397" y="350520"/>
                  </a:lnTo>
                  <a:lnTo>
                    <a:pt x="1495377" y="304800"/>
                  </a:lnTo>
                  <a:lnTo>
                    <a:pt x="1663017" y="129540"/>
                  </a:lnTo>
                  <a:lnTo>
                    <a:pt x="1632537" y="22860"/>
                  </a:lnTo>
                  <a:lnTo>
                    <a:pt x="1701117" y="0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" name="_Map_Saarland">
              <a:extLst>
                <a:ext uri="{FF2B5EF4-FFF2-40B4-BE49-F238E27FC236}">
                  <a16:creationId xmlns:a16="http://schemas.microsoft.com/office/drawing/2014/main" id="{B5208E64-4899-4335-896A-00323572FE1E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gray">
            <a:xfrm>
              <a:off x="547424" y="4787073"/>
              <a:ext cx="400231" cy="290490"/>
            </a:xfrm>
            <a:custGeom>
              <a:avLst/>
              <a:gdLst>
                <a:gd name="connsiteX0" fmla="*/ 0 w 1115721"/>
                <a:gd name="connsiteY0" fmla="*/ 305481 h 809797"/>
                <a:gd name="connsiteX1" fmla="*/ 26666 w 1115721"/>
                <a:gd name="connsiteY1" fmla="*/ 318814 h 809797"/>
                <a:gd name="connsiteX2" fmla="*/ 26666 w 1115721"/>
                <a:gd name="connsiteY2" fmla="*/ 318814 h 809797"/>
                <a:gd name="connsiteX3" fmla="*/ 691858 w 1115721"/>
                <a:gd name="connsiteY3" fmla="*/ 0 h 809797"/>
                <a:gd name="connsiteX4" fmla="*/ 801396 w 1115721"/>
                <a:gd name="connsiteY4" fmla="*/ 42862 h 809797"/>
                <a:gd name="connsiteX5" fmla="*/ 887121 w 1115721"/>
                <a:gd name="connsiteY5" fmla="*/ 52387 h 809797"/>
                <a:gd name="connsiteX6" fmla="*/ 972846 w 1115721"/>
                <a:gd name="connsiteY6" fmla="*/ 114300 h 809797"/>
                <a:gd name="connsiteX7" fmla="*/ 1039521 w 1115721"/>
                <a:gd name="connsiteY7" fmla="*/ 200025 h 809797"/>
                <a:gd name="connsiteX8" fmla="*/ 958558 w 1115721"/>
                <a:gd name="connsiteY8" fmla="*/ 280987 h 809797"/>
                <a:gd name="connsiteX9" fmla="*/ 1044283 w 1115721"/>
                <a:gd name="connsiteY9" fmla="*/ 390525 h 809797"/>
                <a:gd name="connsiteX10" fmla="*/ 1115721 w 1115721"/>
                <a:gd name="connsiteY10" fmla="*/ 400050 h 809797"/>
                <a:gd name="connsiteX11" fmla="*/ 1101433 w 1115721"/>
                <a:gd name="connsiteY11" fmla="*/ 514350 h 809797"/>
                <a:gd name="connsiteX12" fmla="*/ 1034758 w 1115721"/>
                <a:gd name="connsiteY12" fmla="*/ 547687 h 809797"/>
                <a:gd name="connsiteX13" fmla="*/ 991896 w 1115721"/>
                <a:gd name="connsiteY13" fmla="*/ 609600 h 809797"/>
                <a:gd name="connsiteX14" fmla="*/ 1058571 w 1115721"/>
                <a:gd name="connsiteY14" fmla="*/ 685800 h 809797"/>
                <a:gd name="connsiteX15" fmla="*/ 1058571 w 1115721"/>
                <a:gd name="connsiteY15" fmla="*/ 809797 h 809797"/>
                <a:gd name="connsiteX16" fmla="*/ 757630 w 1115721"/>
                <a:gd name="connsiteY16" fmla="*/ 809797 h 809797"/>
                <a:gd name="connsiteX17" fmla="*/ 689176 w 1115721"/>
                <a:gd name="connsiteY17" fmla="*/ 627252 h 809797"/>
                <a:gd name="connsiteX18" fmla="*/ 392542 w 1115721"/>
                <a:gd name="connsiteY18" fmla="*/ 786980 h 809797"/>
                <a:gd name="connsiteX19" fmla="*/ 255632 w 1115721"/>
                <a:gd name="connsiteY19" fmla="*/ 399070 h 809797"/>
                <a:gd name="connsiteX20" fmla="*/ 50269 w 1115721"/>
                <a:gd name="connsiteY20" fmla="*/ 330615 h 809797"/>
                <a:gd name="connsiteX21" fmla="*/ 26666 w 1115721"/>
                <a:gd name="connsiteY21" fmla="*/ 318814 h 809797"/>
                <a:gd name="connsiteX22" fmla="*/ 26666 w 1115721"/>
                <a:gd name="connsiteY22" fmla="*/ 278990 h 809797"/>
                <a:gd name="connsiteX23" fmla="*/ 26666 w 1115721"/>
                <a:gd name="connsiteY23" fmla="*/ 200553 h 809797"/>
                <a:gd name="connsiteX24" fmla="*/ 77821 w 1115721"/>
                <a:gd name="connsiteY24" fmla="*/ 155082 h 809797"/>
                <a:gd name="connsiteX25" fmla="*/ 353721 w 1115721"/>
                <a:gd name="connsiteY25" fmla="*/ 185737 h 809797"/>
                <a:gd name="connsiteX26" fmla="*/ 429921 w 1115721"/>
                <a:gd name="connsiteY26" fmla="*/ 147637 h 809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15721" h="809797">
                  <a:moveTo>
                    <a:pt x="0" y="305481"/>
                  </a:moveTo>
                  <a:lnTo>
                    <a:pt x="26666" y="318814"/>
                  </a:lnTo>
                  <a:lnTo>
                    <a:pt x="26666" y="318814"/>
                  </a:lnTo>
                  <a:close/>
                  <a:moveTo>
                    <a:pt x="691858" y="0"/>
                  </a:moveTo>
                  <a:lnTo>
                    <a:pt x="801396" y="42862"/>
                  </a:lnTo>
                  <a:lnTo>
                    <a:pt x="887121" y="52387"/>
                  </a:lnTo>
                  <a:lnTo>
                    <a:pt x="972846" y="114300"/>
                  </a:lnTo>
                  <a:lnTo>
                    <a:pt x="1039521" y="200025"/>
                  </a:lnTo>
                  <a:lnTo>
                    <a:pt x="958558" y="280987"/>
                  </a:lnTo>
                  <a:lnTo>
                    <a:pt x="1044283" y="390525"/>
                  </a:lnTo>
                  <a:lnTo>
                    <a:pt x="1115721" y="400050"/>
                  </a:lnTo>
                  <a:lnTo>
                    <a:pt x="1101433" y="514350"/>
                  </a:lnTo>
                  <a:lnTo>
                    <a:pt x="1034758" y="547687"/>
                  </a:lnTo>
                  <a:lnTo>
                    <a:pt x="991896" y="609600"/>
                  </a:lnTo>
                  <a:lnTo>
                    <a:pt x="1058571" y="685800"/>
                  </a:lnTo>
                  <a:lnTo>
                    <a:pt x="1058571" y="809797"/>
                  </a:lnTo>
                  <a:lnTo>
                    <a:pt x="757630" y="809797"/>
                  </a:lnTo>
                  <a:lnTo>
                    <a:pt x="689176" y="627252"/>
                  </a:lnTo>
                  <a:lnTo>
                    <a:pt x="392542" y="786980"/>
                  </a:lnTo>
                  <a:lnTo>
                    <a:pt x="255632" y="399070"/>
                  </a:lnTo>
                  <a:lnTo>
                    <a:pt x="50269" y="330615"/>
                  </a:lnTo>
                  <a:lnTo>
                    <a:pt x="26666" y="318814"/>
                  </a:lnTo>
                  <a:lnTo>
                    <a:pt x="26666" y="278990"/>
                  </a:lnTo>
                  <a:lnTo>
                    <a:pt x="26666" y="200553"/>
                  </a:lnTo>
                  <a:lnTo>
                    <a:pt x="77821" y="155082"/>
                  </a:lnTo>
                  <a:lnTo>
                    <a:pt x="353721" y="185737"/>
                  </a:lnTo>
                  <a:lnTo>
                    <a:pt x="429921" y="147637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" name="_Map_Baden Wüttemberg">
              <a:extLst>
                <a:ext uri="{FF2B5EF4-FFF2-40B4-BE49-F238E27FC236}">
                  <a16:creationId xmlns:a16="http://schemas.microsoft.com/office/drawing/2014/main" id="{904D3EAA-E22C-4DC7-9E46-97417D3B864D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958351" y="4704044"/>
              <a:ext cx="1075165" cy="1231074"/>
            </a:xfrm>
            <a:custGeom>
              <a:avLst/>
              <a:gdLst>
                <a:gd name="connsiteX0" fmla="*/ 1976146 w 2997226"/>
                <a:gd name="connsiteY0" fmla="*/ 0 h 3431851"/>
                <a:gd name="connsiteX1" fmla="*/ 2174266 w 2997226"/>
                <a:gd name="connsiteY1" fmla="*/ 15240 h 3431851"/>
                <a:gd name="connsiteX2" fmla="*/ 2166646 w 2997226"/>
                <a:gd name="connsiteY2" fmla="*/ 160020 h 3431851"/>
                <a:gd name="connsiteX3" fmla="*/ 2250466 w 2997226"/>
                <a:gd name="connsiteY3" fmla="*/ 106680 h 3431851"/>
                <a:gd name="connsiteX4" fmla="*/ 2265706 w 2997226"/>
                <a:gd name="connsiteY4" fmla="*/ 167640 h 3431851"/>
                <a:gd name="connsiteX5" fmla="*/ 2303806 w 2997226"/>
                <a:gd name="connsiteY5" fmla="*/ 68580 h 3431851"/>
                <a:gd name="connsiteX6" fmla="*/ 2334286 w 2997226"/>
                <a:gd name="connsiteY6" fmla="*/ 121920 h 3431851"/>
                <a:gd name="connsiteX7" fmla="*/ 2402866 w 2997226"/>
                <a:gd name="connsiteY7" fmla="*/ 251460 h 3431851"/>
                <a:gd name="connsiteX8" fmla="*/ 2334286 w 2997226"/>
                <a:gd name="connsiteY8" fmla="*/ 312420 h 3431851"/>
                <a:gd name="connsiteX9" fmla="*/ 2349526 w 2997226"/>
                <a:gd name="connsiteY9" fmla="*/ 358140 h 3431851"/>
                <a:gd name="connsiteX10" fmla="*/ 2410486 w 2997226"/>
                <a:gd name="connsiteY10" fmla="*/ 312420 h 3431851"/>
                <a:gd name="connsiteX11" fmla="*/ 2448586 w 2997226"/>
                <a:gd name="connsiteY11" fmla="*/ 457200 h 3431851"/>
                <a:gd name="connsiteX12" fmla="*/ 2547646 w 2997226"/>
                <a:gd name="connsiteY12" fmla="*/ 449580 h 3431851"/>
                <a:gd name="connsiteX13" fmla="*/ 2555266 w 2997226"/>
                <a:gd name="connsiteY13" fmla="*/ 381000 h 3431851"/>
                <a:gd name="connsiteX14" fmla="*/ 2578126 w 2997226"/>
                <a:gd name="connsiteY14" fmla="*/ 358140 h 3431851"/>
                <a:gd name="connsiteX15" fmla="*/ 2623846 w 2997226"/>
                <a:gd name="connsiteY15" fmla="*/ 396240 h 3431851"/>
                <a:gd name="connsiteX16" fmla="*/ 2654326 w 2997226"/>
                <a:gd name="connsiteY16" fmla="*/ 609600 h 3431851"/>
                <a:gd name="connsiteX17" fmla="*/ 2631466 w 2997226"/>
                <a:gd name="connsiteY17" fmla="*/ 624840 h 3431851"/>
                <a:gd name="connsiteX18" fmla="*/ 2661946 w 2997226"/>
                <a:gd name="connsiteY18" fmla="*/ 754380 h 3431851"/>
                <a:gd name="connsiteX19" fmla="*/ 2646706 w 2997226"/>
                <a:gd name="connsiteY19" fmla="*/ 784860 h 3431851"/>
                <a:gd name="connsiteX20" fmla="*/ 2661946 w 2997226"/>
                <a:gd name="connsiteY20" fmla="*/ 883920 h 3431851"/>
                <a:gd name="connsiteX21" fmla="*/ 2761006 w 2997226"/>
                <a:gd name="connsiteY21" fmla="*/ 990600 h 3431851"/>
                <a:gd name="connsiteX22" fmla="*/ 2722906 w 2997226"/>
                <a:gd name="connsiteY22" fmla="*/ 1043940 h 3431851"/>
                <a:gd name="connsiteX23" fmla="*/ 2776246 w 2997226"/>
                <a:gd name="connsiteY23" fmla="*/ 1143000 h 3431851"/>
                <a:gd name="connsiteX24" fmla="*/ 2867686 w 2997226"/>
                <a:gd name="connsiteY24" fmla="*/ 1158240 h 3431851"/>
                <a:gd name="connsiteX25" fmla="*/ 2966746 w 2997226"/>
                <a:gd name="connsiteY25" fmla="*/ 1310640 h 3431851"/>
                <a:gd name="connsiteX26" fmla="*/ 2928646 w 2997226"/>
                <a:gd name="connsiteY26" fmla="*/ 1524000 h 3431851"/>
                <a:gd name="connsiteX27" fmla="*/ 2981986 w 2997226"/>
                <a:gd name="connsiteY27" fmla="*/ 1584960 h 3431851"/>
                <a:gd name="connsiteX28" fmla="*/ 2997226 w 2997226"/>
                <a:gd name="connsiteY28" fmla="*/ 1676400 h 3431851"/>
                <a:gd name="connsiteX29" fmla="*/ 2867686 w 2997226"/>
                <a:gd name="connsiteY29" fmla="*/ 1706880 h 3431851"/>
                <a:gd name="connsiteX30" fmla="*/ 2844826 w 2997226"/>
                <a:gd name="connsiteY30" fmla="*/ 1661160 h 3431851"/>
                <a:gd name="connsiteX31" fmla="*/ 2768626 w 2997226"/>
                <a:gd name="connsiteY31" fmla="*/ 1661160 h 3431851"/>
                <a:gd name="connsiteX32" fmla="*/ 2768626 w 2997226"/>
                <a:gd name="connsiteY32" fmla="*/ 1706880 h 3431851"/>
                <a:gd name="connsiteX33" fmla="*/ 2829586 w 2997226"/>
                <a:gd name="connsiteY33" fmla="*/ 1783080 h 3431851"/>
                <a:gd name="connsiteX34" fmla="*/ 2814346 w 2997226"/>
                <a:gd name="connsiteY34" fmla="*/ 1912620 h 3431851"/>
                <a:gd name="connsiteX35" fmla="*/ 2661946 w 2997226"/>
                <a:gd name="connsiteY35" fmla="*/ 2011680 h 3431851"/>
                <a:gd name="connsiteX36" fmla="*/ 2608606 w 2997226"/>
                <a:gd name="connsiteY36" fmla="*/ 1973580 h 3431851"/>
                <a:gd name="connsiteX37" fmla="*/ 2517166 w 2997226"/>
                <a:gd name="connsiteY37" fmla="*/ 2133600 h 3431851"/>
                <a:gd name="connsiteX38" fmla="*/ 2639086 w 2997226"/>
                <a:gd name="connsiteY38" fmla="*/ 2545080 h 3431851"/>
                <a:gd name="connsiteX39" fmla="*/ 2608606 w 2997226"/>
                <a:gd name="connsiteY39" fmla="*/ 2865120 h 3431851"/>
                <a:gd name="connsiteX40" fmla="*/ 2639086 w 2997226"/>
                <a:gd name="connsiteY40" fmla="*/ 2956560 h 3431851"/>
                <a:gd name="connsiteX41" fmla="*/ 2600986 w 2997226"/>
                <a:gd name="connsiteY41" fmla="*/ 3009900 h 3431851"/>
                <a:gd name="connsiteX42" fmla="*/ 2646706 w 2997226"/>
                <a:gd name="connsiteY42" fmla="*/ 3139440 h 3431851"/>
                <a:gd name="connsiteX43" fmla="*/ 2600986 w 2997226"/>
                <a:gd name="connsiteY43" fmla="*/ 3208020 h 3431851"/>
                <a:gd name="connsiteX44" fmla="*/ 2372386 w 2997226"/>
                <a:gd name="connsiteY44" fmla="*/ 3177540 h 3431851"/>
                <a:gd name="connsiteX45" fmla="*/ 2280946 w 2997226"/>
                <a:gd name="connsiteY45" fmla="*/ 3276600 h 3431851"/>
                <a:gd name="connsiteX46" fmla="*/ 2251997 w 2997226"/>
                <a:gd name="connsiteY46" fmla="*/ 3327919 h 3431851"/>
                <a:gd name="connsiteX47" fmla="*/ 2191575 w 2997226"/>
                <a:gd name="connsiteY47" fmla="*/ 3327919 h 3431851"/>
                <a:gd name="connsiteX48" fmla="*/ 2087643 w 2997226"/>
                <a:gd name="connsiteY48" fmla="*/ 3431851 h 3431851"/>
                <a:gd name="connsiteX49" fmla="*/ 2087643 w 2997226"/>
                <a:gd name="connsiteY49" fmla="*/ 3431456 h 3431851"/>
                <a:gd name="connsiteX50" fmla="*/ 2025029 w 2997226"/>
                <a:gd name="connsiteY50" fmla="*/ 3431456 h 3431851"/>
                <a:gd name="connsiteX51" fmla="*/ 2033485 w 2997226"/>
                <a:gd name="connsiteY51" fmla="*/ 3406855 h 3431851"/>
                <a:gd name="connsiteX52" fmla="*/ 1492268 w 2997226"/>
                <a:gd name="connsiteY52" fmla="*/ 3159779 h 3431851"/>
                <a:gd name="connsiteX53" fmla="*/ 1386376 w 2997226"/>
                <a:gd name="connsiteY53" fmla="*/ 3218605 h 3431851"/>
                <a:gd name="connsiteX54" fmla="*/ 1174596 w 2997226"/>
                <a:gd name="connsiteY54" fmla="*/ 3042122 h 3431851"/>
                <a:gd name="connsiteX55" fmla="*/ 1104002 w 2997226"/>
                <a:gd name="connsiteY55" fmla="*/ 2947998 h 3431851"/>
                <a:gd name="connsiteX56" fmla="*/ 880455 w 2997226"/>
                <a:gd name="connsiteY56" fmla="*/ 3053887 h 3431851"/>
                <a:gd name="connsiteX57" fmla="*/ 1092238 w 2997226"/>
                <a:gd name="connsiteY57" fmla="*/ 3183310 h 3431851"/>
                <a:gd name="connsiteX58" fmla="*/ 1092238 w 2997226"/>
                <a:gd name="connsiteY58" fmla="*/ 3195074 h 3431851"/>
                <a:gd name="connsiteX59" fmla="*/ 962815 w 2997226"/>
                <a:gd name="connsiteY59" fmla="*/ 3289199 h 3431851"/>
                <a:gd name="connsiteX60" fmla="*/ 715739 w 2997226"/>
                <a:gd name="connsiteY60" fmla="*/ 3183310 h 3431851"/>
                <a:gd name="connsiteX61" fmla="*/ 527489 w 2997226"/>
                <a:gd name="connsiteY61" fmla="*/ 3324497 h 3431851"/>
                <a:gd name="connsiteX62" fmla="*/ 327473 w 2997226"/>
                <a:gd name="connsiteY62" fmla="*/ 3265668 h 3431851"/>
                <a:gd name="connsiteX63" fmla="*/ 245115 w 2997226"/>
                <a:gd name="connsiteY63" fmla="*/ 3312730 h 3431851"/>
                <a:gd name="connsiteX64" fmla="*/ 127459 w 2997226"/>
                <a:gd name="connsiteY64" fmla="*/ 3265668 h 3431851"/>
                <a:gd name="connsiteX65" fmla="*/ 88502 w 2997226"/>
                <a:gd name="connsiteY65" fmla="*/ 3249076 h 3431851"/>
                <a:gd name="connsiteX66" fmla="*/ 0 w 2997226"/>
                <a:gd name="connsiteY66" fmla="*/ 3072069 h 3431851"/>
                <a:gd name="connsiteX67" fmla="*/ 136909 w 2997226"/>
                <a:gd name="connsiteY67" fmla="*/ 2729798 h 3431851"/>
                <a:gd name="connsiteX68" fmla="*/ 68454 w 2997226"/>
                <a:gd name="connsiteY68" fmla="*/ 2501616 h 3431851"/>
                <a:gd name="connsiteX69" fmla="*/ 296634 w 2997226"/>
                <a:gd name="connsiteY69" fmla="*/ 1931163 h 3431851"/>
                <a:gd name="connsiteX70" fmla="*/ 205363 w 2997226"/>
                <a:gd name="connsiteY70" fmla="*/ 1817071 h 3431851"/>
                <a:gd name="connsiteX71" fmla="*/ 678654 w 2997226"/>
                <a:gd name="connsiteY71" fmla="*/ 1298704 h 3431851"/>
                <a:gd name="connsiteX72" fmla="*/ 684556 w 2997226"/>
                <a:gd name="connsiteY72" fmla="*/ 1301434 h 3431851"/>
                <a:gd name="connsiteX73" fmla="*/ 836956 w 2997226"/>
                <a:gd name="connsiteY73" fmla="*/ 1068071 h 3431851"/>
                <a:gd name="connsiteX74" fmla="*/ 925856 w 2997226"/>
                <a:gd name="connsiteY74" fmla="*/ 877571 h 3431851"/>
                <a:gd name="connsiteX75" fmla="*/ 887756 w 2997226"/>
                <a:gd name="connsiteY75" fmla="*/ 858521 h 3431851"/>
                <a:gd name="connsiteX76" fmla="*/ 995706 w 2997226"/>
                <a:gd name="connsiteY76" fmla="*/ 750571 h 3431851"/>
                <a:gd name="connsiteX77" fmla="*/ 951256 w 2997226"/>
                <a:gd name="connsiteY77" fmla="*/ 680721 h 3431851"/>
                <a:gd name="connsiteX78" fmla="*/ 1008406 w 2997226"/>
                <a:gd name="connsiteY78" fmla="*/ 528321 h 3431851"/>
                <a:gd name="connsiteX79" fmla="*/ 951256 w 2997226"/>
                <a:gd name="connsiteY79" fmla="*/ 502921 h 3431851"/>
                <a:gd name="connsiteX80" fmla="*/ 944906 w 2997226"/>
                <a:gd name="connsiteY80" fmla="*/ 344171 h 3431851"/>
                <a:gd name="connsiteX81" fmla="*/ 969782 w 2997226"/>
                <a:gd name="connsiteY81" fmla="*/ 329770 h 3431851"/>
                <a:gd name="connsiteX82" fmla="*/ 938556 w 2997226"/>
                <a:gd name="connsiteY82" fmla="*/ 312422 h 3431851"/>
                <a:gd name="connsiteX83" fmla="*/ 888833 w 2997226"/>
                <a:gd name="connsiteY83" fmla="*/ 185854 h 3431851"/>
                <a:gd name="connsiteX84" fmla="*/ 888834 w 2997226"/>
                <a:gd name="connsiteY84" fmla="*/ 185854 h 3431851"/>
                <a:gd name="connsiteX85" fmla="*/ 938556 w 2997226"/>
                <a:gd name="connsiteY85" fmla="*/ 312420 h 3431851"/>
                <a:gd name="connsiteX86" fmla="*/ 1052856 w 2997226"/>
                <a:gd name="connsiteY86" fmla="*/ 375920 h 3431851"/>
                <a:gd name="connsiteX87" fmla="*/ 1116356 w 2997226"/>
                <a:gd name="connsiteY87" fmla="*/ 356870 h 3431851"/>
                <a:gd name="connsiteX88" fmla="*/ 1110006 w 2997226"/>
                <a:gd name="connsiteY88" fmla="*/ 248920 h 3431851"/>
                <a:gd name="connsiteX89" fmla="*/ 1205256 w 2997226"/>
                <a:gd name="connsiteY89" fmla="*/ 236220 h 3431851"/>
                <a:gd name="connsiteX90" fmla="*/ 1211606 w 2997226"/>
                <a:gd name="connsiteY90" fmla="*/ 375920 h 3431851"/>
                <a:gd name="connsiteX91" fmla="*/ 1287806 w 2997226"/>
                <a:gd name="connsiteY91" fmla="*/ 363220 h 3431851"/>
                <a:gd name="connsiteX92" fmla="*/ 1344956 w 2997226"/>
                <a:gd name="connsiteY92" fmla="*/ 401320 h 3431851"/>
                <a:gd name="connsiteX93" fmla="*/ 1306856 w 2997226"/>
                <a:gd name="connsiteY93" fmla="*/ 534670 h 3431851"/>
                <a:gd name="connsiteX94" fmla="*/ 1433856 w 2997226"/>
                <a:gd name="connsiteY94" fmla="*/ 471170 h 3431851"/>
                <a:gd name="connsiteX95" fmla="*/ 1452906 w 2997226"/>
                <a:gd name="connsiteY95" fmla="*/ 401320 h 3431851"/>
                <a:gd name="connsiteX96" fmla="*/ 1598956 w 2997226"/>
                <a:gd name="connsiteY96" fmla="*/ 382270 h 3431851"/>
                <a:gd name="connsiteX97" fmla="*/ 1548156 w 2997226"/>
                <a:gd name="connsiteY97" fmla="*/ 299720 h 3431851"/>
                <a:gd name="connsiteX98" fmla="*/ 1548156 w 2997226"/>
                <a:gd name="connsiteY98" fmla="*/ 271611 h 3431851"/>
                <a:gd name="connsiteX99" fmla="*/ 1610386 w 2997226"/>
                <a:gd name="connsiteY99" fmla="*/ 304800 h 3431851"/>
                <a:gd name="connsiteX100" fmla="*/ 1838986 w 2997226"/>
                <a:gd name="connsiteY100" fmla="*/ 289560 h 3431851"/>
                <a:gd name="connsiteX101" fmla="*/ 1869466 w 2997226"/>
                <a:gd name="connsiteY101" fmla="*/ 190500 h 3431851"/>
                <a:gd name="connsiteX102" fmla="*/ 1953286 w 2997226"/>
                <a:gd name="connsiteY102" fmla="*/ 190500 h 3431851"/>
                <a:gd name="connsiteX103" fmla="*/ 1945666 w 2997226"/>
                <a:gd name="connsiteY103" fmla="*/ 114300 h 3431851"/>
                <a:gd name="connsiteX104" fmla="*/ 1831366 w 2997226"/>
                <a:gd name="connsiteY104" fmla="*/ 53340 h 3431851"/>
                <a:gd name="connsiteX0" fmla="*/ 1976146 w 2997226"/>
                <a:gd name="connsiteY0" fmla="*/ 0 h 3431851"/>
                <a:gd name="connsiteX1" fmla="*/ 2174266 w 2997226"/>
                <a:gd name="connsiteY1" fmla="*/ 15240 h 3431851"/>
                <a:gd name="connsiteX2" fmla="*/ 2166646 w 2997226"/>
                <a:gd name="connsiteY2" fmla="*/ 160020 h 3431851"/>
                <a:gd name="connsiteX3" fmla="*/ 2250466 w 2997226"/>
                <a:gd name="connsiteY3" fmla="*/ 106680 h 3431851"/>
                <a:gd name="connsiteX4" fmla="*/ 2265706 w 2997226"/>
                <a:gd name="connsiteY4" fmla="*/ 167640 h 3431851"/>
                <a:gd name="connsiteX5" fmla="*/ 2303806 w 2997226"/>
                <a:gd name="connsiteY5" fmla="*/ 68580 h 3431851"/>
                <a:gd name="connsiteX6" fmla="*/ 2334286 w 2997226"/>
                <a:gd name="connsiteY6" fmla="*/ 121920 h 3431851"/>
                <a:gd name="connsiteX7" fmla="*/ 2402866 w 2997226"/>
                <a:gd name="connsiteY7" fmla="*/ 251460 h 3431851"/>
                <a:gd name="connsiteX8" fmla="*/ 2334286 w 2997226"/>
                <a:gd name="connsiteY8" fmla="*/ 312420 h 3431851"/>
                <a:gd name="connsiteX9" fmla="*/ 2349526 w 2997226"/>
                <a:gd name="connsiteY9" fmla="*/ 358140 h 3431851"/>
                <a:gd name="connsiteX10" fmla="*/ 2410486 w 2997226"/>
                <a:gd name="connsiteY10" fmla="*/ 312420 h 3431851"/>
                <a:gd name="connsiteX11" fmla="*/ 2448586 w 2997226"/>
                <a:gd name="connsiteY11" fmla="*/ 457200 h 3431851"/>
                <a:gd name="connsiteX12" fmla="*/ 2547646 w 2997226"/>
                <a:gd name="connsiteY12" fmla="*/ 449580 h 3431851"/>
                <a:gd name="connsiteX13" fmla="*/ 2555266 w 2997226"/>
                <a:gd name="connsiteY13" fmla="*/ 381000 h 3431851"/>
                <a:gd name="connsiteX14" fmla="*/ 2578126 w 2997226"/>
                <a:gd name="connsiteY14" fmla="*/ 358140 h 3431851"/>
                <a:gd name="connsiteX15" fmla="*/ 2623846 w 2997226"/>
                <a:gd name="connsiteY15" fmla="*/ 396240 h 3431851"/>
                <a:gd name="connsiteX16" fmla="*/ 2654326 w 2997226"/>
                <a:gd name="connsiteY16" fmla="*/ 609600 h 3431851"/>
                <a:gd name="connsiteX17" fmla="*/ 2631466 w 2997226"/>
                <a:gd name="connsiteY17" fmla="*/ 624840 h 3431851"/>
                <a:gd name="connsiteX18" fmla="*/ 2661946 w 2997226"/>
                <a:gd name="connsiteY18" fmla="*/ 754380 h 3431851"/>
                <a:gd name="connsiteX19" fmla="*/ 2646706 w 2997226"/>
                <a:gd name="connsiteY19" fmla="*/ 784860 h 3431851"/>
                <a:gd name="connsiteX20" fmla="*/ 2661946 w 2997226"/>
                <a:gd name="connsiteY20" fmla="*/ 883920 h 3431851"/>
                <a:gd name="connsiteX21" fmla="*/ 2761006 w 2997226"/>
                <a:gd name="connsiteY21" fmla="*/ 990600 h 3431851"/>
                <a:gd name="connsiteX22" fmla="*/ 2722906 w 2997226"/>
                <a:gd name="connsiteY22" fmla="*/ 1043940 h 3431851"/>
                <a:gd name="connsiteX23" fmla="*/ 2776246 w 2997226"/>
                <a:gd name="connsiteY23" fmla="*/ 1143000 h 3431851"/>
                <a:gd name="connsiteX24" fmla="*/ 2867686 w 2997226"/>
                <a:gd name="connsiteY24" fmla="*/ 1158240 h 3431851"/>
                <a:gd name="connsiteX25" fmla="*/ 2966746 w 2997226"/>
                <a:gd name="connsiteY25" fmla="*/ 1310640 h 3431851"/>
                <a:gd name="connsiteX26" fmla="*/ 2928646 w 2997226"/>
                <a:gd name="connsiteY26" fmla="*/ 1524000 h 3431851"/>
                <a:gd name="connsiteX27" fmla="*/ 2981986 w 2997226"/>
                <a:gd name="connsiteY27" fmla="*/ 1584960 h 3431851"/>
                <a:gd name="connsiteX28" fmla="*/ 2997226 w 2997226"/>
                <a:gd name="connsiteY28" fmla="*/ 1676400 h 3431851"/>
                <a:gd name="connsiteX29" fmla="*/ 2867686 w 2997226"/>
                <a:gd name="connsiteY29" fmla="*/ 1706880 h 3431851"/>
                <a:gd name="connsiteX30" fmla="*/ 2844826 w 2997226"/>
                <a:gd name="connsiteY30" fmla="*/ 1661160 h 3431851"/>
                <a:gd name="connsiteX31" fmla="*/ 2768626 w 2997226"/>
                <a:gd name="connsiteY31" fmla="*/ 1661160 h 3431851"/>
                <a:gd name="connsiteX32" fmla="*/ 2768626 w 2997226"/>
                <a:gd name="connsiteY32" fmla="*/ 1706880 h 3431851"/>
                <a:gd name="connsiteX33" fmla="*/ 2829586 w 2997226"/>
                <a:gd name="connsiteY33" fmla="*/ 1783080 h 3431851"/>
                <a:gd name="connsiteX34" fmla="*/ 2814346 w 2997226"/>
                <a:gd name="connsiteY34" fmla="*/ 1912620 h 3431851"/>
                <a:gd name="connsiteX35" fmla="*/ 2661946 w 2997226"/>
                <a:gd name="connsiteY35" fmla="*/ 2011680 h 3431851"/>
                <a:gd name="connsiteX36" fmla="*/ 2608606 w 2997226"/>
                <a:gd name="connsiteY36" fmla="*/ 1973580 h 3431851"/>
                <a:gd name="connsiteX37" fmla="*/ 2517166 w 2997226"/>
                <a:gd name="connsiteY37" fmla="*/ 2133600 h 3431851"/>
                <a:gd name="connsiteX38" fmla="*/ 2639086 w 2997226"/>
                <a:gd name="connsiteY38" fmla="*/ 2545080 h 3431851"/>
                <a:gd name="connsiteX39" fmla="*/ 2608606 w 2997226"/>
                <a:gd name="connsiteY39" fmla="*/ 2865120 h 3431851"/>
                <a:gd name="connsiteX40" fmla="*/ 2639086 w 2997226"/>
                <a:gd name="connsiteY40" fmla="*/ 2956560 h 3431851"/>
                <a:gd name="connsiteX41" fmla="*/ 2600986 w 2997226"/>
                <a:gd name="connsiteY41" fmla="*/ 3009900 h 3431851"/>
                <a:gd name="connsiteX42" fmla="*/ 2646706 w 2997226"/>
                <a:gd name="connsiteY42" fmla="*/ 3139440 h 3431851"/>
                <a:gd name="connsiteX43" fmla="*/ 2600986 w 2997226"/>
                <a:gd name="connsiteY43" fmla="*/ 3208020 h 3431851"/>
                <a:gd name="connsiteX44" fmla="*/ 2372386 w 2997226"/>
                <a:gd name="connsiteY44" fmla="*/ 3177540 h 3431851"/>
                <a:gd name="connsiteX45" fmla="*/ 2280946 w 2997226"/>
                <a:gd name="connsiteY45" fmla="*/ 3276600 h 3431851"/>
                <a:gd name="connsiteX46" fmla="*/ 2251997 w 2997226"/>
                <a:gd name="connsiteY46" fmla="*/ 3327919 h 3431851"/>
                <a:gd name="connsiteX47" fmla="*/ 2191575 w 2997226"/>
                <a:gd name="connsiteY47" fmla="*/ 3327919 h 3431851"/>
                <a:gd name="connsiteX48" fmla="*/ 2087643 w 2997226"/>
                <a:gd name="connsiteY48" fmla="*/ 3431851 h 3431851"/>
                <a:gd name="connsiteX49" fmla="*/ 2087643 w 2997226"/>
                <a:gd name="connsiteY49" fmla="*/ 3431456 h 3431851"/>
                <a:gd name="connsiteX50" fmla="*/ 2025029 w 2997226"/>
                <a:gd name="connsiteY50" fmla="*/ 3431456 h 3431851"/>
                <a:gd name="connsiteX51" fmla="*/ 2033485 w 2997226"/>
                <a:gd name="connsiteY51" fmla="*/ 3406855 h 3431851"/>
                <a:gd name="connsiteX52" fmla="*/ 1492268 w 2997226"/>
                <a:gd name="connsiteY52" fmla="*/ 3159779 h 3431851"/>
                <a:gd name="connsiteX53" fmla="*/ 1386376 w 2997226"/>
                <a:gd name="connsiteY53" fmla="*/ 3218605 h 3431851"/>
                <a:gd name="connsiteX54" fmla="*/ 1174596 w 2997226"/>
                <a:gd name="connsiteY54" fmla="*/ 3042122 h 3431851"/>
                <a:gd name="connsiteX55" fmla="*/ 1104002 w 2997226"/>
                <a:gd name="connsiteY55" fmla="*/ 2947998 h 3431851"/>
                <a:gd name="connsiteX56" fmla="*/ 880455 w 2997226"/>
                <a:gd name="connsiteY56" fmla="*/ 3053887 h 3431851"/>
                <a:gd name="connsiteX57" fmla="*/ 1092238 w 2997226"/>
                <a:gd name="connsiteY57" fmla="*/ 3183310 h 3431851"/>
                <a:gd name="connsiteX58" fmla="*/ 1092238 w 2997226"/>
                <a:gd name="connsiteY58" fmla="*/ 3195074 h 3431851"/>
                <a:gd name="connsiteX59" fmla="*/ 962815 w 2997226"/>
                <a:gd name="connsiteY59" fmla="*/ 3289199 h 3431851"/>
                <a:gd name="connsiteX60" fmla="*/ 715739 w 2997226"/>
                <a:gd name="connsiteY60" fmla="*/ 3183310 h 3431851"/>
                <a:gd name="connsiteX61" fmla="*/ 527489 w 2997226"/>
                <a:gd name="connsiteY61" fmla="*/ 3324497 h 3431851"/>
                <a:gd name="connsiteX62" fmla="*/ 327473 w 2997226"/>
                <a:gd name="connsiteY62" fmla="*/ 3265668 h 3431851"/>
                <a:gd name="connsiteX63" fmla="*/ 245115 w 2997226"/>
                <a:gd name="connsiteY63" fmla="*/ 3312730 h 3431851"/>
                <a:gd name="connsiteX64" fmla="*/ 127459 w 2997226"/>
                <a:gd name="connsiteY64" fmla="*/ 3265668 h 3431851"/>
                <a:gd name="connsiteX65" fmla="*/ 88502 w 2997226"/>
                <a:gd name="connsiteY65" fmla="*/ 3249076 h 3431851"/>
                <a:gd name="connsiteX66" fmla="*/ 0 w 2997226"/>
                <a:gd name="connsiteY66" fmla="*/ 3072069 h 3431851"/>
                <a:gd name="connsiteX67" fmla="*/ 136909 w 2997226"/>
                <a:gd name="connsiteY67" fmla="*/ 2729798 h 3431851"/>
                <a:gd name="connsiteX68" fmla="*/ 68454 w 2997226"/>
                <a:gd name="connsiteY68" fmla="*/ 2501616 h 3431851"/>
                <a:gd name="connsiteX69" fmla="*/ 296634 w 2997226"/>
                <a:gd name="connsiteY69" fmla="*/ 1931163 h 3431851"/>
                <a:gd name="connsiteX70" fmla="*/ 205363 w 2997226"/>
                <a:gd name="connsiteY70" fmla="*/ 1817071 h 3431851"/>
                <a:gd name="connsiteX71" fmla="*/ 678654 w 2997226"/>
                <a:gd name="connsiteY71" fmla="*/ 1298704 h 3431851"/>
                <a:gd name="connsiteX72" fmla="*/ 684556 w 2997226"/>
                <a:gd name="connsiteY72" fmla="*/ 1301434 h 3431851"/>
                <a:gd name="connsiteX73" fmla="*/ 836956 w 2997226"/>
                <a:gd name="connsiteY73" fmla="*/ 1068071 h 3431851"/>
                <a:gd name="connsiteX74" fmla="*/ 925856 w 2997226"/>
                <a:gd name="connsiteY74" fmla="*/ 877571 h 3431851"/>
                <a:gd name="connsiteX75" fmla="*/ 887756 w 2997226"/>
                <a:gd name="connsiteY75" fmla="*/ 858521 h 3431851"/>
                <a:gd name="connsiteX76" fmla="*/ 995706 w 2997226"/>
                <a:gd name="connsiteY76" fmla="*/ 750571 h 3431851"/>
                <a:gd name="connsiteX77" fmla="*/ 951256 w 2997226"/>
                <a:gd name="connsiteY77" fmla="*/ 680721 h 3431851"/>
                <a:gd name="connsiteX78" fmla="*/ 1008406 w 2997226"/>
                <a:gd name="connsiteY78" fmla="*/ 528321 h 3431851"/>
                <a:gd name="connsiteX79" fmla="*/ 951256 w 2997226"/>
                <a:gd name="connsiteY79" fmla="*/ 502921 h 3431851"/>
                <a:gd name="connsiteX80" fmla="*/ 944906 w 2997226"/>
                <a:gd name="connsiteY80" fmla="*/ 344171 h 3431851"/>
                <a:gd name="connsiteX81" fmla="*/ 969782 w 2997226"/>
                <a:gd name="connsiteY81" fmla="*/ 329770 h 3431851"/>
                <a:gd name="connsiteX82" fmla="*/ 938556 w 2997226"/>
                <a:gd name="connsiteY82" fmla="*/ 312422 h 3431851"/>
                <a:gd name="connsiteX83" fmla="*/ 888833 w 2997226"/>
                <a:gd name="connsiteY83" fmla="*/ 185854 h 3431851"/>
                <a:gd name="connsiteX84" fmla="*/ 938556 w 2997226"/>
                <a:gd name="connsiteY84" fmla="*/ 312420 h 3431851"/>
                <a:gd name="connsiteX85" fmla="*/ 1052856 w 2997226"/>
                <a:gd name="connsiteY85" fmla="*/ 375920 h 3431851"/>
                <a:gd name="connsiteX86" fmla="*/ 1116356 w 2997226"/>
                <a:gd name="connsiteY86" fmla="*/ 356870 h 3431851"/>
                <a:gd name="connsiteX87" fmla="*/ 1110006 w 2997226"/>
                <a:gd name="connsiteY87" fmla="*/ 248920 h 3431851"/>
                <a:gd name="connsiteX88" fmla="*/ 1205256 w 2997226"/>
                <a:gd name="connsiteY88" fmla="*/ 236220 h 3431851"/>
                <a:gd name="connsiteX89" fmla="*/ 1211606 w 2997226"/>
                <a:gd name="connsiteY89" fmla="*/ 375920 h 3431851"/>
                <a:gd name="connsiteX90" fmla="*/ 1287806 w 2997226"/>
                <a:gd name="connsiteY90" fmla="*/ 363220 h 3431851"/>
                <a:gd name="connsiteX91" fmla="*/ 1344956 w 2997226"/>
                <a:gd name="connsiteY91" fmla="*/ 401320 h 3431851"/>
                <a:gd name="connsiteX92" fmla="*/ 1306856 w 2997226"/>
                <a:gd name="connsiteY92" fmla="*/ 534670 h 3431851"/>
                <a:gd name="connsiteX93" fmla="*/ 1433856 w 2997226"/>
                <a:gd name="connsiteY93" fmla="*/ 471170 h 3431851"/>
                <a:gd name="connsiteX94" fmla="*/ 1452906 w 2997226"/>
                <a:gd name="connsiteY94" fmla="*/ 401320 h 3431851"/>
                <a:gd name="connsiteX95" fmla="*/ 1598956 w 2997226"/>
                <a:gd name="connsiteY95" fmla="*/ 382270 h 3431851"/>
                <a:gd name="connsiteX96" fmla="*/ 1548156 w 2997226"/>
                <a:gd name="connsiteY96" fmla="*/ 299720 h 3431851"/>
                <a:gd name="connsiteX97" fmla="*/ 1548156 w 2997226"/>
                <a:gd name="connsiteY97" fmla="*/ 271611 h 3431851"/>
                <a:gd name="connsiteX98" fmla="*/ 1610386 w 2997226"/>
                <a:gd name="connsiteY98" fmla="*/ 304800 h 3431851"/>
                <a:gd name="connsiteX99" fmla="*/ 1838986 w 2997226"/>
                <a:gd name="connsiteY99" fmla="*/ 289560 h 3431851"/>
                <a:gd name="connsiteX100" fmla="*/ 1869466 w 2997226"/>
                <a:gd name="connsiteY100" fmla="*/ 190500 h 3431851"/>
                <a:gd name="connsiteX101" fmla="*/ 1953286 w 2997226"/>
                <a:gd name="connsiteY101" fmla="*/ 190500 h 3431851"/>
                <a:gd name="connsiteX102" fmla="*/ 1945666 w 2997226"/>
                <a:gd name="connsiteY102" fmla="*/ 114300 h 3431851"/>
                <a:gd name="connsiteX103" fmla="*/ 1831366 w 2997226"/>
                <a:gd name="connsiteY103" fmla="*/ 53340 h 3431851"/>
                <a:gd name="connsiteX104" fmla="*/ 1976146 w 2997226"/>
                <a:gd name="connsiteY104" fmla="*/ 0 h 3431851"/>
                <a:gd name="connsiteX0" fmla="*/ 1976146 w 2997226"/>
                <a:gd name="connsiteY0" fmla="*/ 0 h 3431851"/>
                <a:gd name="connsiteX1" fmla="*/ 2174266 w 2997226"/>
                <a:gd name="connsiteY1" fmla="*/ 15240 h 3431851"/>
                <a:gd name="connsiteX2" fmla="*/ 2166646 w 2997226"/>
                <a:gd name="connsiteY2" fmla="*/ 160020 h 3431851"/>
                <a:gd name="connsiteX3" fmla="*/ 2250466 w 2997226"/>
                <a:gd name="connsiteY3" fmla="*/ 106680 h 3431851"/>
                <a:gd name="connsiteX4" fmla="*/ 2265706 w 2997226"/>
                <a:gd name="connsiteY4" fmla="*/ 167640 h 3431851"/>
                <a:gd name="connsiteX5" fmla="*/ 2303806 w 2997226"/>
                <a:gd name="connsiteY5" fmla="*/ 68580 h 3431851"/>
                <a:gd name="connsiteX6" fmla="*/ 2334286 w 2997226"/>
                <a:gd name="connsiteY6" fmla="*/ 121920 h 3431851"/>
                <a:gd name="connsiteX7" fmla="*/ 2402866 w 2997226"/>
                <a:gd name="connsiteY7" fmla="*/ 251460 h 3431851"/>
                <a:gd name="connsiteX8" fmla="*/ 2334286 w 2997226"/>
                <a:gd name="connsiteY8" fmla="*/ 312420 h 3431851"/>
                <a:gd name="connsiteX9" fmla="*/ 2349526 w 2997226"/>
                <a:gd name="connsiteY9" fmla="*/ 358140 h 3431851"/>
                <a:gd name="connsiteX10" fmla="*/ 2410486 w 2997226"/>
                <a:gd name="connsiteY10" fmla="*/ 312420 h 3431851"/>
                <a:gd name="connsiteX11" fmla="*/ 2448586 w 2997226"/>
                <a:gd name="connsiteY11" fmla="*/ 457200 h 3431851"/>
                <a:gd name="connsiteX12" fmla="*/ 2547646 w 2997226"/>
                <a:gd name="connsiteY12" fmla="*/ 449580 h 3431851"/>
                <a:gd name="connsiteX13" fmla="*/ 2555266 w 2997226"/>
                <a:gd name="connsiteY13" fmla="*/ 381000 h 3431851"/>
                <a:gd name="connsiteX14" fmla="*/ 2578126 w 2997226"/>
                <a:gd name="connsiteY14" fmla="*/ 358140 h 3431851"/>
                <a:gd name="connsiteX15" fmla="*/ 2623846 w 2997226"/>
                <a:gd name="connsiteY15" fmla="*/ 396240 h 3431851"/>
                <a:gd name="connsiteX16" fmla="*/ 2654326 w 2997226"/>
                <a:gd name="connsiteY16" fmla="*/ 609600 h 3431851"/>
                <a:gd name="connsiteX17" fmla="*/ 2631466 w 2997226"/>
                <a:gd name="connsiteY17" fmla="*/ 624840 h 3431851"/>
                <a:gd name="connsiteX18" fmla="*/ 2661946 w 2997226"/>
                <a:gd name="connsiteY18" fmla="*/ 754380 h 3431851"/>
                <a:gd name="connsiteX19" fmla="*/ 2646706 w 2997226"/>
                <a:gd name="connsiteY19" fmla="*/ 784860 h 3431851"/>
                <a:gd name="connsiteX20" fmla="*/ 2661946 w 2997226"/>
                <a:gd name="connsiteY20" fmla="*/ 883920 h 3431851"/>
                <a:gd name="connsiteX21" fmla="*/ 2761006 w 2997226"/>
                <a:gd name="connsiteY21" fmla="*/ 990600 h 3431851"/>
                <a:gd name="connsiteX22" fmla="*/ 2722906 w 2997226"/>
                <a:gd name="connsiteY22" fmla="*/ 1043940 h 3431851"/>
                <a:gd name="connsiteX23" fmla="*/ 2776246 w 2997226"/>
                <a:gd name="connsiteY23" fmla="*/ 1143000 h 3431851"/>
                <a:gd name="connsiteX24" fmla="*/ 2867686 w 2997226"/>
                <a:gd name="connsiteY24" fmla="*/ 1158240 h 3431851"/>
                <a:gd name="connsiteX25" fmla="*/ 2966746 w 2997226"/>
                <a:gd name="connsiteY25" fmla="*/ 1310640 h 3431851"/>
                <a:gd name="connsiteX26" fmla="*/ 2928646 w 2997226"/>
                <a:gd name="connsiteY26" fmla="*/ 1524000 h 3431851"/>
                <a:gd name="connsiteX27" fmla="*/ 2981986 w 2997226"/>
                <a:gd name="connsiteY27" fmla="*/ 1584960 h 3431851"/>
                <a:gd name="connsiteX28" fmla="*/ 2997226 w 2997226"/>
                <a:gd name="connsiteY28" fmla="*/ 1676400 h 3431851"/>
                <a:gd name="connsiteX29" fmla="*/ 2867686 w 2997226"/>
                <a:gd name="connsiteY29" fmla="*/ 1706880 h 3431851"/>
                <a:gd name="connsiteX30" fmla="*/ 2844826 w 2997226"/>
                <a:gd name="connsiteY30" fmla="*/ 1661160 h 3431851"/>
                <a:gd name="connsiteX31" fmla="*/ 2768626 w 2997226"/>
                <a:gd name="connsiteY31" fmla="*/ 1661160 h 3431851"/>
                <a:gd name="connsiteX32" fmla="*/ 2768626 w 2997226"/>
                <a:gd name="connsiteY32" fmla="*/ 1706880 h 3431851"/>
                <a:gd name="connsiteX33" fmla="*/ 2829586 w 2997226"/>
                <a:gd name="connsiteY33" fmla="*/ 1783080 h 3431851"/>
                <a:gd name="connsiteX34" fmla="*/ 2814346 w 2997226"/>
                <a:gd name="connsiteY34" fmla="*/ 1912620 h 3431851"/>
                <a:gd name="connsiteX35" fmla="*/ 2661946 w 2997226"/>
                <a:gd name="connsiteY35" fmla="*/ 2011680 h 3431851"/>
                <a:gd name="connsiteX36" fmla="*/ 2608606 w 2997226"/>
                <a:gd name="connsiteY36" fmla="*/ 1973580 h 3431851"/>
                <a:gd name="connsiteX37" fmla="*/ 2517166 w 2997226"/>
                <a:gd name="connsiteY37" fmla="*/ 2133600 h 3431851"/>
                <a:gd name="connsiteX38" fmla="*/ 2639086 w 2997226"/>
                <a:gd name="connsiteY38" fmla="*/ 2545080 h 3431851"/>
                <a:gd name="connsiteX39" fmla="*/ 2608606 w 2997226"/>
                <a:gd name="connsiteY39" fmla="*/ 2865120 h 3431851"/>
                <a:gd name="connsiteX40" fmla="*/ 2639086 w 2997226"/>
                <a:gd name="connsiteY40" fmla="*/ 2956560 h 3431851"/>
                <a:gd name="connsiteX41" fmla="*/ 2600986 w 2997226"/>
                <a:gd name="connsiteY41" fmla="*/ 3009900 h 3431851"/>
                <a:gd name="connsiteX42" fmla="*/ 2646706 w 2997226"/>
                <a:gd name="connsiteY42" fmla="*/ 3139440 h 3431851"/>
                <a:gd name="connsiteX43" fmla="*/ 2600986 w 2997226"/>
                <a:gd name="connsiteY43" fmla="*/ 3208020 h 3431851"/>
                <a:gd name="connsiteX44" fmla="*/ 2372386 w 2997226"/>
                <a:gd name="connsiteY44" fmla="*/ 3177540 h 3431851"/>
                <a:gd name="connsiteX45" fmla="*/ 2280946 w 2997226"/>
                <a:gd name="connsiteY45" fmla="*/ 3276600 h 3431851"/>
                <a:gd name="connsiteX46" fmla="*/ 2251997 w 2997226"/>
                <a:gd name="connsiteY46" fmla="*/ 3327919 h 3431851"/>
                <a:gd name="connsiteX47" fmla="*/ 2191575 w 2997226"/>
                <a:gd name="connsiteY47" fmla="*/ 3327919 h 3431851"/>
                <a:gd name="connsiteX48" fmla="*/ 2087643 w 2997226"/>
                <a:gd name="connsiteY48" fmla="*/ 3431851 h 3431851"/>
                <a:gd name="connsiteX49" fmla="*/ 2087643 w 2997226"/>
                <a:gd name="connsiteY49" fmla="*/ 3431456 h 3431851"/>
                <a:gd name="connsiteX50" fmla="*/ 2025029 w 2997226"/>
                <a:gd name="connsiteY50" fmla="*/ 3431456 h 3431851"/>
                <a:gd name="connsiteX51" fmla="*/ 2033485 w 2997226"/>
                <a:gd name="connsiteY51" fmla="*/ 3406855 h 3431851"/>
                <a:gd name="connsiteX52" fmla="*/ 1492268 w 2997226"/>
                <a:gd name="connsiteY52" fmla="*/ 3159779 h 3431851"/>
                <a:gd name="connsiteX53" fmla="*/ 1386376 w 2997226"/>
                <a:gd name="connsiteY53" fmla="*/ 3218605 h 3431851"/>
                <a:gd name="connsiteX54" fmla="*/ 1174596 w 2997226"/>
                <a:gd name="connsiteY54" fmla="*/ 3042122 h 3431851"/>
                <a:gd name="connsiteX55" fmla="*/ 1104002 w 2997226"/>
                <a:gd name="connsiteY55" fmla="*/ 2947998 h 3431851"/>
                <a:gd name="connsiteX56" fmla="*/ 880455 w 2997226"/>
                <a:gd name="connsiteY56" fmla="*/ 3053887 h 3431851"/>
                <a:gd name="connsiteX57" fmla="*/ 1092238 w 2997226"/>
                <a:gd name="connsiteY57" fmla="*/ 3183310 h 3431851"/>
                <a:gd name="connsiteX58" fmla="*/ 1092238 w 2997226"/>
                <a:gd name="connsiteY58" fmla="*/ 3195074 h 3431851"/>
                <a:gd name="connsiteX59" fmla="*/ 962815 w 2997226"/>
                <a:gd name="connsiteY59" fmla="*/ 3289199 h 3431851"/>
                <a:gd name="connsiteX60" fmla="*/ 715739 w 2997226"/>
                <a:gd name="connsiteY60" fmla="*/ 3183310 h 3431851"/>
                <a:gd name="connsiteX61" fmla="*/ 527489 w 2997226"/>
                <a:gd name="connsiteY61" fmla="*/ 3324497 h 3431851"/>
                <a:gd name="connsiteX62" fmla="*/ 327473 w 2997226"/>
                <a:gd name="connsiteY62" fmla="*/ 3265668 h 3431851"/>
                <a:gd name="connsiteX63" fmla="*/ 245115 w 2997226"/>
                <a:gd name="connsiteY63" fmla="*/ 3312730 h 3431851"/>
                <a:gd name="connsiteX64" fmla="*/ 127459 w 2997226"/>
                <a:gd name="connsiteY64" fmla="*/ 3265668 h 3431851"/>
                <a:gd name="connsiteX65" fmla="*/ 88502 w 2997226"/>
                <a:gd name="connsiteY65" fmla="*/ 3249076 h 3431851"/>
                <a:gd name="connsiteX66" fmla="*/ 0 w 2997226"/>
                <a:gd name="connsiteY66" fmla="*/ 3072069 h 3431851"/>
                <a:gd name="connsiteX67" fmla="*/ 136909 w 2997226"/>
                <a:gd name="connsiteY67" fmla="*/ 2729798 h 3431851"/>
                <a:gd name="connsiteX68" fmla="*/ 68454 w 2997226"/>
                <a:gd name="connsiteY68" fmla="*/ 2501616 h 3431851"/>
                <a:gd name="connsiteX69" fmla="*/ 296634 w 2997226"/>
                <a:gd name="connsiteY69" fmla="*/ 1931163 h 3431851"/>
                <a:gd name="connsiteX70" fmla="*/ 205363 w 2997226"/>
                <a:gd name="connsiteY70" fmla="*/ 1817071 h 3431851"/>
                <a:gd name="connsiteX71" fmla="*/ 678654 w 2997226"/>
                <a:gd name="connsiteY71" fmla="*/ 1298704 h 3431851"/>
                <a:gd name="connsiteX72" fmla="*/ 684556 w 2997226"/>
                <a:gd name="connsiteY72" fmla="*/ 1301434 h 3431851"/>
                <a:gd name="connsiteX73" fmla="*/ 836956 w 2997226"/>
                <a:gd name="connsiteY73" fmla="*/ 1068071 h 3431851"/>
                <a:gd name="connsiteX74" fmla="*/ 925856 w 2997226"/>
                <a:gd name="connsiteY74" fmla="*/ 877571 h 3431851"/>
                <a:gd name="connsiteX75" fmla="*/ 887756 w 2997226"/>
                <a:gd name="connsiteY75" fmla="*/ 858521 h 3431851"/>
                <a:gd name="connsiteX76" fmla="*/ 995706 w 2997226"/>
                <a:gd name="connsiteY76" fmla="*/ 750571 h 3431851"/>
                <a:gd name="connsiteX77" fmla="*/ 951256 w 2997226"/>
                <a:gd name="connsiteY77" fmla="*/ 680721 h 3431851"/>
                <a:gd name="connsiteX78" fmla="*/ 1008406 w 2997226"/>
                <a:gd name="connsiteY78" fmla="*/ 528321 h 3431851"/>
                <a:gd name="connsiteX79" fmla="*/ 951256 w 2997226"/>
                <a:gd name="connsiteY79" fmla="*/ 502921 h 3431851"/>
                <a:gd name="connsiteX80" fmla="*/ 944906 w 2997226"/>
                <a:gd name="connsiteY80" fmla="*/ 344171 h 3431851"/>
                <a:gd name="connsiteX81" fmla="*/ 969782 w 2997226"/>
                <a:gd name="connsiteY81" fmla="*/ 329770 h 3431851"/>
                <a:gd name="connsiteX82" fmla="*/ 938556 w 2997226"/>
                <a:gd name="connsiteY82" fmla="*/ 312422 h 3431851"/>
                <a:gd name="connsiteX83" fmla="*/ 938556 w 2997226"/>
                <a:gd name="connsiteY83" fmla="*/ 312420 h 3431851"/>
                <a:gd name="connsiteX84" fmla="*/ 1052856 w 2997226"/>
                <a:gd name="connsiteY84" fmla="*/ 375920 h 3431851"/>
                <a:gd name="connsiteX85" fmla="*/ 1116356 w 2997226"/>
                <a:gd name="connsiteY85" fmla="*/ 356870 h 3431851"/>
                <a:gd name="connsiteX86" fmla="*/ 1110006 w 2997226"/>
                <a:gd name="connsiteY86" fmla="*/ 248920 h 3431851"/>
                <a:gd name="connsiteX87" fmla="*/ 1205256 w 2997226"/>
                <a:gd name="connsiteY87" fmla="*/ 236220 h 3431851"/>
                <a:gd name="connsiteX88" fmla="*/ 1211606 w 2997226"/>
                <a:gd name="connsiteY88" fmla="*/ 375920 h 3431851"/>
                <a:gd name="connsiteX89" fmla="*/ 1287806 w 2997226"/>
                <a:gd name="connsiteY89" fmla="*/ 363220 h 3431851"/>
                <a:gd name="connsiteX90" fmla="*/ 1344956 w 2997226"/>
                <a:gd name="connsiteY90" fmla="*/ 401320 h 3431851"/>
                <a:gd name="connsiteX91" fmla="*/ 1306856 w 2997226"/>
                <a:gd name="connsiteY91" fmla="*/ 534670 h 3431851"/>
                <a:gd name="connsiteX92" fmla="*/ 1433856 w 2997226"/>
                <a:gd name="connsiteY92" fmla="*/ 471170 h 3431851"/>
                <a:gd name="connsiteX93" fmla="*/ 1452906 w 2997226"/>
                <a:gd name="connsiteY93" fmla="*/ 401320 h 3431851"/>
                <a:gd name="connsiteX94" fmla="*/ 1598956 w 2997226"/>
                <a:gd name="connsiteY94" fmla="*/ 382270 h 3431851"/>
                <a:gd name="connsiteX95" fmla="*/ 1548156 w 2997226"/>
                <a:gd name="connsiteY95" fmla="*/ 299720 h 3431851"/>
                <a:gd name="connsiteX96" fmla="*/ 1548156 w 2997226"/>
                <a:gd name="connsiteY96" fmla="*/ 271611 h 3431851"/>
                <a:gd name="connsiteX97" fmla="*/ 1610386 w 2997226"/>
                <a:gd name="connsiteY97" fmla="*/ 304800 h 3431851"/>
                <a:gd name="connsiteX98" fmla="*/ 1838986 w 2997226"/>
                <a:gd name="connsiteY98" fmla="*/ 289560 h 3431851"/>
                <a:gd name="connsiteX99" fmla="*/ 1869466 w 2997226"/>
                <a:gd name="connsiteY99" fmla="*/ 190500 h 3431851"/>
                <a:gd name="connsiteX100" fmla="*/ 1953286 w 2997226"/>
                <a:gd name="connsiteY100" fmla="*/ 190500 h 3431851"/>
                <a:gd name="connsiteX101" fmla="*/ 1945666 w 2997226"/>
                <a:gd name="connsiteY101" fmla="*/ 114300 h 3431851"/>
                <a:gd name="connsiteX102" fmla="*/ 1831366 w 2997226"/>
                <a:gd name="connsiteY102" fmla="*/ 53340 h 3431851"/>
                <a:gd name="connsiteX103" fmla="*/ 1976146 w 2997226"/>
                <a:gd name="connsiteY103" fmla="*/ 0 h 3431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997226" h="3431851">
                  <a:moveTo>
                    <a:pt x="1976146" y="0"/>
                  </a:moveTo>
                  <a:lnTo>
                    <a:pt x="2174266" y="15240"/>
                  </a:lnTo>
                  <a:lnTo>
                    <a:pt x="2166646" y="160020"/>
                  </a:lnTo>
                  <a:lnTo>
                    <a:pt x="2250466" y="106680"/>
                  </a:lnTo>
                  <a:lnTo>
                    <a:pt x="2265706" y="167640"/>
                  </a:lnTo>
                  <a:lnTo>
                    <a:pt x="2303806" y="68580"/>
                  </a:lnTo>
                  <a:lnTo>
                    <a:pt x="2334286" y="121920"/>
                  </a:lnTo>
                  <a:lnTo>
                    <a:pt x="2402866" y="251460"/>
                  </a:lnTo>
                  <a:lnTo>
                    <a:pt x="2334286" y="312420"/>
                  </a:lnTo>
                  <a:lnTo>
                    <a:pt x="2349526" y="358140"/>
                  </a:lnTo>
                  <a:lnTo>
                    <a:pt x="2410486" y="312420"/>
                  </a:lnTo>
                  <a:lnTo>
                    <a:pt x="2448586" y="457200"/>
                  </a:lnTo>
                  <a:lnTo>
                    <a:pt x="2547646" y="449580"/>
                  </a:lnTo>
                  <a:lnTo>
                    <a:pt x="2555266" y="381000"/>
                  </a:lnTo>
                  <a:lnTo>
                    <a:pt x="2578126" y="358140"/>
                  </a:lnTo>
                  <a:lnTo>
                    <a:pt x="2623846" y="396240"/>
                  </a:lnTo>
                  <a:lnTo>
                    <a:pt x="2654326" y="609600"/>
                  </a:lnTo>
                  <a:lnTo>
                    <a:pt x="2631466" y="624840"/>
                  </a:lnTo>
                  <a:lnTo>
                    <a:pt x="2661946" y="754380"/>
                  </a:lnTo>
                  <a:lnTo>
                    <a:pt x="2646706" y="784860"/>
                  </a:lnTo>
                  <a:lnTo>
                    <a:pt x="2661946" y="883920"/>
                  </a:lnTo>
                  <a:lnTo>
                    <a:pt x="2761006" y="990600"/>
                  </a:lnTo>
                  <a:lnTo>
                    <a:pt x="2722906" y="1043940"/>
                  </a:lnTo>
                  <a:lnTo>
                    <a:pt x="2776246" y="1143000"/>
                  </a:lnTo>
                  <a:lnTo>
                    <a:pt x="2867686" y="1158240"/>
                  </a:lnTo>
                  <a:lnTo>
                    <a:pt x="2966746" y="1310640"/>
                  </a:lnTo>
                  <a:lnTo>
                    <a:pt x="2928646" y="1524000"/>
                  </a:lnTo>
                  <a:lnTo>
                    <a:pt x="2981986" y="1584960"/>
                  </a:lnTo>
                  <a:lnTo>
                    <a:pt x="2997226" y="1676400"/>
                  </a:lnTo>
                  <a:lnTo>
                    <a:pt x="2867686" y="1706880"/>
                  </a:lnTo>
                  <a:lnTo>
                    <a:pt x="2844826" y="1661160"/>
                  </a:lnTo>
                  <a:lnTo>
                    <a:pt x="2768626" y="1661160"/>
                  </a:lnTo>
                  <a:lnTo>
                    <a:pt x="2768626" y="1706880"/>
                  </a:lnTo>
                  <a:lnTo>
                    <a:pt x="2829586" y="1783080"/>
                  </a:lnTo>
                  <a:lnTo>
                    <a:pt x="2814346" y="1912620"/>
                  </a:lnTo>
                  <a:lnTo>
                    <a:pt x="2661946" y="2011680"/>
                  </a:lnTo>
                  <a:lnTo>
                    <a:pt x="2608606" y="1973580"/>
                  </a:lnTo>
                  <a:lnTo>
                    <a:pt x="2517166" y="2133600"/>
                  </a:lnTo>
                  <a:lnTo>
                    <a:pt x="2639086" y="2545080"/>
                  </a:lnTo>
                  <a:lnTo>
                    <a:pt x="2608606" y="2865120"/>
                  </a:lnTo>
                  <a:lnTo>
                    <a:pt x="2639086" y="2956560"/>
                  </a:lnTo>
                  <a:lnTo>
                    <a:pt x="2600986" y="3009900"/>
                  </a:lnTo>
                  <a:lnTo>
                    <a:pt x="2646706" y="3139440"/>
                  </a:lnTo>
                  <a:lnTo>
                    <a:pt x="2600986" y="3208020"/>
                  </a:lnTo>
                  <a:lnTo>
                    <a:pt x="2372386" y="3177540"/>
                  </a:lnTo>
                  <a:lnTo>
                    <a:pt x="2280946" y="3276600"/>
                  </a:lnTo>
                  <a:lnTo>
                    <a:pt x="2251997" y="3327919"/>
                  </a:lnTo>
                  <a:lnTo>
                    <a:pt x="2191575" y="3327919"/>
                  </a:lnTo>
                  <a:lnTo>
                    <a:pt x="2087643" y="3431851"/>
                  </a:lnTo>
                  <a:lnTo>
                    <a:pt x="2087643" y="3431456"/>
                  </a:lnTo>
                  <a:lnTo>
                    <a:pt x="2025029" y="3431456"/>
                  </a:lnTo>
                  <a:lnTo>
                    <a:pt x="2033485" y="3406855"/>
                  </a:lnTo>
                  <a:lnTo>
                    <a:pt x="1492268" y="3159779"/>
                  </a:lnTo>
                  <a:lnTo>
                    <a:pt x="1386376" y="3218605"/>
                  </a:lnTo>
                  <a:lnTo>
                    <a:pt x="1174596" y="3042122"/>
                  </a:lnTo>
                  <a:lnTo>
                    <a:pt x="1104002" y="2947998"/>
                  </a:lnTo>
                  <a:lnTo>
                    <a:pt x="880455" y="3053887"/>
                  </a:lnTo>
                  <a:cubicBezTo>
                    <a:pt x="954971" y="3081341"/>
                    <a:pt x="935361" y="3155855"/>
                    <a:pt x="1092238" y="3183310"/>
                  </a:cubicBezTo>
                  <a:lnTo>
                    <a:pt x="1092238" y="3195074"/>
                  </a:lnTo>
                  <a:lnTo>
                    <a:pt x="962815" y="3289199"/>
                  </a:lnTo>
                  <a:lnTo>
                    <a:pt x="715739" y="3183310"/>
                  </a:lnTo>
                  <a:lnTo>
                    <a:pt x="527489" y="3324497"/>
                  </a:lnTo>
                  <a:lnTo>
                    <a:pt x="327473" y="3265668"/>
                  </a:lnTo>
                  <a:lnTo>
                    <a:pt x="245115" y="3312730"/>
                  </a:lnTo>
                  <a:lnTo>
                    <a:pt x="127459" y="3265668"/>
                  </a:lnTo>
                  <a:lnTo>
                    <a:pt x="88502" y="3249076"/>
                  </a:lnTo>
                  <a:lnTo>
                    <a:pt x="0" y="3072069"/>
                  </a:lnTo>
                  <a:lnTo>
                    <a:pt x="136909" y="2729798"/>
                  </a:lnTo>
                  <a:lnTo>
                    <a:pt x="68454" y="2501616"/>
                  </a:lnTo>
                  <a:lnTo>
                    <a:pt x="296634" y="1931163"/>
                  </a:lnTo>
                  <a:lnTo>
                    <a:pt x="205363" y="1817071"/>
                  </a:lnTo>
                  <a:lnTo>
                    <a:pt x="678654" y="1298704"/>
                  </a:lnTo>
                  <a:lnTo>
                    <a:pt x="684556" y="1301434"/>
                  </a:lnTo>
                  <a:lnTo>
                    <a:pt x="836956" y="1068071"/>
                  </a:lnTo>
                  <a:lnTo>
                    <a:pt x="925856" y="877571"/>
                  </a:lnTo>
                  <a:lnTo>
                    <a:pt x="887756" y="858521"/>
                  </a:lnTo>
                  <a:lnTo>
                    <a:pt x="995706" y="750571"/>
                  </a:lnTo>
                  <a:lnTo>
                    <a:pt x="951256" y="680721"/>
                  </a:lnTo>
                  <a:lnTo>
                    <a:pt x="1008406" y="528321"/>
                  </a:lnTo>
                  <a:lnTo>
                    <a:pt x="951256" y="502921"/>
                  </a:lnTo>
                  <a:lnTo>
                    <a:pt x="944906" y="344171"/>
                  </a:lnTo>
                  <a:lnTo>
                    <a:pt x="969782" y="329770"/>
                  </a:lnTo>
                  <a:lnTo>
                    <a:pt x="938556" y="312422"/>
                  </a:lnTo>
                  <a:lnTo>
                    <a:pt x="938556" y="312420"/>
                  </a:lnTo>
                  <a:lnTo>
                    <a:pt x="1052856" y="375920"/>
                  </a:lnTo>
                  <a:lnTo>
                    <a:pt x="1116356" y="356870"/>
                  </a:lnTo>
                  <a:lnTo>
                    <a:pt x="1110006" y="248920"/>
                  </a:lnTo>
                  <a:lnTo>
                    <a:pt x="1205256" y="236220"/>
                  </a:lnTo>
                  <a:lnTo>
                    <a:pt x="1211606" y="375920"/>
                  </a:lnTo>
                  <a:lnTo>
                    <a:pt x="1287806" y="363220"/>
                  </a:lnTo>
                  <a:lnTo>
                    <a:pt x="1344956" y="401320"/>
                  </a:lnTo>
                  <a:lnTo>
                    <a:pt x="1306856" y="534670"/>
                  </a:lnTo>
                  <a:lnTo>
                    <a:pt x="1433856" y="471170"/>
                  </a:lnTo>
                  <a:lnTo>
                    <a:pt x="1452906" y="401320"/>
                  </a:lnTo>
                  <a:lnTo>
                    <a:pt x="1598956" y="382270"/>
                  </a:lnTo>
                  <a:lnTo>
                    <a:pt x="1548156" y="299720"/>
                  </a:lnTo>
                  <a:lnTo>
                    <a:pt x="1548156" y="271611"/>
                  </a:lnTo>
                  <a:lnTo>
                    <a:pt x="1610386" y="304800"/>
                  </a:lnTo>
                  <a:lnTo>
                    <a:pt x="1838986" y="289560"/>
                  </a:lnTo>
                  <a:lnTo>
                    <a:pt x="1869466" y="190500"/>
                  </a:lnTo>
                  <a:lnTo>
                    <a:pt x="1953286" y="190500"/>
                  </a:lnTo>
                  <a:lnTo>
                    <a:pt x="1945666" y="114300"/>
                  </a:lnTo>
                  <a:lnTo>
                    <a:pt x="1831366" y="53340"/>
                  </a:lnTo>
                  <a:lnTo>
                    <a:pt x="1976146" y="0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_Map_Bayern">
              <a:extLst>
                <a:ext uri="{FF2B5EF4-FFF2-40B4-BE49-F238E27FC236}">
                  <a16:creationId xmlns:a16="http://schemas.microsoft.com/office/drawing/2014/main" id="{39F83179-46CD-4296-A4D0-06A4CE62BF60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1488650" y="4314985"/>
              <a:ext cx="1639575" cy="1729163"/>
            </a:xfrm>
            <a:custGeom>
              <a:avLst/>
              <a:gdLst>
                <a:gd name="connsiteX0" fmla="*/ 555179 w 4570627"/>
                <a:gd name="connsiteY0" fmla="*/ 4755497 h 5084434"/>
                <a:gd name="connsiteX1" fmla="*/ 555179 w 4570627"/>
                <a:gd name="connsiteY1" fmla="*/ 4755497 h 5084434"/>
                <a:gd name="connsiteX2" fmla="*/ 546724 w 4570627"/>
                <a:gd name="connsiteY2" fmla="*/ 4780097 h 5084434"/>
                <a:gd name="connsiteX3" fmla="*/ 546723 w 4570627"/>
                <a:gd name="connsiteY3" fmla="*/ 4780097 h 5084434"/>
                <a:gd name="connsiteX4" fmla="*/ 2749550 w 4570627"/>
                <a:gd name="connsiteY4" fmla="*/ 283114 h 5084434"/>
                <a:gd name="connsiteX5" fmla="*/ 2749551 w 4570627"/>
                <a:gd name="connsiteY5" fmla="*/ 283114 h 5084434"/>
                <a:gd name="connsiteX6" fmla="*/ 2787650 w 4570627"/>
                <a:gd name="connsiteY6" fmla="*/ 327563 h 5084434"/>
                <a:gd name="connsiteX7" fmla="*/ 2844800 w 4570627"/>
                <a:gd name="connsiteY7" fmla="*/ 365663 h 5084434"/>
                <a:gd name="connsiteX8" fmla="*/ 2844800 w 4570627"/>
                <a:gd name="connsiteY8" fmla="*/ 365664 h 5084434"/>
                <a:gd name="connsiteX9" fmla="*/ 2787650 w 4570627"/>
                <a:gd name="connsiteY9" fmla="*/ 327564 h 5084434"/>
                <a:gd name="connsiteX10" fmla="*/ 1060450 w 4570627"/>
                <a:gd name="connsiteY10" fmla="*/ 264062 h 5084434"/>
                <a:gd name="connsiteX11" fmla="*/ 1149350 w 4570627"/>
                <a:gd name="connsiteY11" fmla="*/ 302162 h 5084434"/>
                <a:gd name="connsiteX12" fmla="*/ 1263650 w 4570627"/>
                <a:gd name="connsiteY12" fmla="*/ 378362 h 5084434"/>
                <a:gd name="connsiteX13" fmla="*/ 1320800 w 4570627"/>
                <a:gd name="connsiteY13" fmla="*/ 499012 h 5084434"/>
                <a:gd name="connsiteX14" fmla="*/ 1371600 w 4570627"/>
                <a:gd name="connsiteY14" fmla="*/ 479962 h 5084434"/>
                <a:gd name="connsiteX15" fmla="*/ 1479550 w 4570627"/>
                <a:gd name="connsiteY15" fmla="*/ 587912 h 5084434"/>
                <a:gd name="connsiteX16" fmla="*/ 1530350 w 4570627"/>
                <a:gd name="connsiteY16" fmla="*/ 753012 h 5084434"/>
                <a:gd name="connsiteX17" fmla="*/ 1612900 w 4570627"/>
                <a:gd name="connsiteY17" fmla="*/ 797462 h 5084434"/>
                <a:gd name="connsiteX18" fmla="*/ 1638300 w 4570627"/>
                <a:gd name="connsiteY18" fmla="*/ 727612 h 5084434"/>
                <a:gd name="connsiteX19" fmla="*/ 1739900 w 4570627"/>
                <a:gd name="connsiteY19" fmla="*/ 733962 h 5084434"/>
                <a:gd name="connsiteX20" fmla="*/ 1746250 w 4570627"/>
                <a:gd name="connsiteY20" fmla="*/ 683162 h 5084434"/>
                <a:gd name="connsiteX21" fmla="*/ 1689100 w 4570627"/>
                <a:gd name="connsiteY21" fmla="*/ 651412 h 5084434"/>
                <a:gd name="connsiteX22" fmla="*/ 1638300 w 4570627"/>
                <a:gd name="connsiteY22" fmla="*/ 606962 h 5084434"/>
                <a:gd name="connsiteX23" fmla="*/ 1625600 w 4570627"/>
                <a:gd name="connsiteY23" fmla="*/ 556162 h 5084434"/>
                <a:gd name="connsiteX24" fmla="*/ 1778000 w 4570627"/>
                <a:gd name="connsiteY24" fmla="*/ 499012 h 5084434"/>
                <a:gd name="connsiteX25" fmla="*/ 1879600 w 4570627"/>
                <a:gd name="connsiteY25" fmla="*/ 511712 h 5084434"/>
                <a:gd name="connsiteX26" fmla="*/ 1873250 w 4570627"/>
                <a:gd name="connsiteY26" fmla="*/ 575212 h 5084434"/>
                <a:gd name="connsiteX27" fmla="*/ 1981200 w 4570627"/>
                <a:gd name="connsiteY27" fmla="*/ 568862 h 5084434"/>
                <a:gd name="connsiteX28" fmla="*/ 2006600 w 4570627"/>
                <a:gd name="connsiteY28" fmla="*/ 568862 h 5084434"/>
                <a:gd name="connsiteX29" fmla="*/ 2032000 w 4570627"/>
                <a:gd name="connsiteY29" fmla="*/ 670462 h 5084434"/>
                <a:gd name="connsiteX30" fmla="*/ 2133600 w 4570627"/>
                <a:gd name="connsiteY30" fmla="*/ 683162 h 5084434"/>
                <a:gd name="connsiteX31" fmla="*/ 2171700 w 4570627"/>
                <a:gd name="connsiteY31" fmla="*/ 549812 h 5084434"/>
                <a:gd name="connsiteX32" fmla="*/ 2146300 w 4570627"/>
                <a:gd name="connsiteY32" fmla="*/ 410112 h 5084434"/>
                <a:gd name="connsiteX33" fmla="*/ 2216150 w 4570627"/>
                <a:gd name="connsiteY33" fmla="*/ 327562 h 5084434"/>
                <a:gd name="connsiteX34" fmla="*/ 2279650 w 4570627"/>
                <a:gd name="connsiteY34" fmla="*/ 321212 h 5084434"/>
                <a:gd name="connsiteX35" fmla="*/ 2305050 w 4570627"/>
                <a:gd name="connsiteY35" fmla="*/ 416462 h 5084434"/>
                <a:gd name="connsiteX36" fmla="*/ 2374900 w 4570627"/>
                <a:gd name="connsiteY36" fmla="*/ 479962 h 5084434"/>
                <a:gd name="connsiteX37" fmla="*/ 2381250 w 4570627"/>
                <a:gd name="connsiteY37" fmla="*/ 543462 h 5084434"/>
                <a:gd name="connsiteX38" fmla="*/ 2514600 w 4570627"/>
                <a:gd name="connsiteY38" fmla="*/ 492662 h 5084434"/>
                <a:gd name="connsiteX39" fmla="*/ 2641600 w 4570627"/>
                <a:gd name="connsiteY39" fmla="*/ 467262 h 5084434"/>
                <a:gd name="connsiteX40" fmla="*/ 2686050 w 4570627"/>
                <a:gd name="connsiteY40" fmla="*/ 505362 h 5084434"/>
                <a:gd name="connsiteX41" fmla="*/ 2774950 w 4570627"/>
                <a:gd name="connsiteY41" fmla="*/ 454562 h 5084434"/>
                <a:gd name="connsiteX42" fmla="*/ 2796953 w 4570627"/>
                <a:gd name="connsiteY42" fmla="*/ 456658 h 5084434"/>
                <a:gd name="connsiteX43" fmla="*/ 2787650 w 4570627"/>
                <a:gd name="connsiteY43" fmla="*/ 435514 h 5084434"/>
                <a:gd name="connsiteX44" fmla="*/ 2857500 w 4570627"/>
                <a:gd name="connsiteY44" fmla="*/ 594263 h 5084434"/>
                <a:gd name="connsiteX45" fmla="*/ 2971800 w 4570627"/>
                <a:gd name="connsiteY45" fmla="*/ 619663 h 5084434"/>
                <a:gd name="connsiteX46" fmla="*/ 3054350 w 4570627"/>
                <a:gd name="connsiteY46" fmla="*/ 638713 h 5084434"/>
                <a:gd name="connsiteX47" fmla="*/ 3093057 w 4570627"/>
                <a:gd name="connsiteY47" fmla="*/ 793543 h 5084434"/>
                <a:gd name="connsiteX48" fmla="*/ 3011086 w 4570627"/>
                <a:gd name="connsiteY48" fmla="*/ 674685 h 5084434"/>
                <a:gd name="connsiteX49" fmla="*/ 2924805 w 4570627"/>
                <a:gd name="connsiteY49" fmla="*/ 760966 h 5084434"/>
                <a:gd name="connsiteX50" fmla="*/ 3026774 w 4570627"/>
                <a:gd name="connsiteY50" fmla="*/ 870778 h 5084434"/>
                <a:gd name="connsiteX51" fmla="*/ 3050305 w 4570627"/>
                <a:gd name="connsiteY51" fmla="*/ 1043340 h 5084434"/>
                <a:gd name="connsiteX52" fmla="*/ 3348367 w 4570627"/>
                <a:gd name="connsiteY52" fmla="*/ 1215903 h 5084434"/>
                <a:gd name="connsiteX53" fmla="*/ 3411117 w 4570627"/>
                <a:gd name="connsiteY53" fmla="*/ 1325715 h 5084434"/>
                <a:gd name="connsiteX54" fmla="*/ 3262086 w 4570627"/>
                <a:gd name="connsiteY54" fmla="*/ 1506121 h 5084434"/>
                <a:gd name="connsiteX55" fmla="*/ 3395429 w 4570627"/>
                <a:gd name="connsiteY55" fmla="*/ 1749277 h 5084434"/>
                <a:gd name="connsiteX56" fmla="*/ 3489554 w 4570627"/>
                <a:gd name="connsiteY56" fmla="*/ 2031651 h 5084434"/>
                <a:gd name="connsiteX57" fmla="*/ 3638585 w 4570627"/>
                <a:gd name="connsiteY57" fmla="*/ 2196370 h 5084434"/>
                <a:gd name="connsiteX58" fmla="*/ 3756241 w 4570627"/>
                <a:gd name="connsiteY58" fmla="*/ 2102245 h 5084434"/>
                <a:gd name="connsiteX59" fmla="*/ 3905271 w 4570627"/>
                <a:gd name="connsiteY59" fmla="*/ 2345401 h 5084434"/>
                <a:gd name="connsiteX60" fmla="*/ 4007240 w 4570627"/>
                <a:gd name="connsiteY60" fmla="*/ 2463057 h 5084434"/>
                <a:gd name="connsiteX61" fmla="*/ 4124896 w 4570627"/>
                <a:gd name="connsiteY61" fmla="*/ 2463057 h 5084434"/>
                <a:gd name="connsiteX62" fmla="*/ 4328833 w 4570627"/>
                <a:gd name="connsiteY62" fmla="*/ 2745431 h 5084434"/>
                <a:gd name="connsiteX63" fmla="*/ 4446489 w 4570627"/>
                <a:gd name="connsiteY63" fmla="*/ 2729744 h 5084434"/>
                <a:gd name="connsiteX64" fmla="*/ 4564145 w 4570627"/>
                <a:gd name="connsiteY64" fmla="*/ 2855244 h 5084434"/>
                <a:gd name="connsiteX65" fmla="*/ 4570627 w 4570627"/>
                <a:gd name="connsiteY65" fmla="*/ 2865244 h 5084434"/>
                <a:gd name="connsiteX66" fmla="*/ 4493946 w 4570627"/>
                <a:gd name="connsiteY66" fmla="*/ 3233312 h 5084434"/>
                <a:gd name="connsiteX67" fmla="*/ 4274322 w 4570627"/>
                <a:gd name="connsiteY67" fmla="*/ 3248999 h 5084434"/>
                <a:gd name="connsiteX68" fmla="*/ 4180197 w 4570627"/>
                <a:gd name="connsiteY68" fmla="*/ 3578436 h 5084434"/>
                <a:gd name="connsiteX69" fmla="*/ 3819386 w 4570627"/>
                <a:gd name="connsiteY69" fmla="*/ 3703936 h 5084434"/>
                <a:gd name="connsiteX70" fmla="*/ 3552699 w 4570627"/>
                <a:gd name="connsiteY70" fmla="*/ 3860811 h 5084434"/>
                <a:gd name="connsiteX71" fmla="*/ 3552699 w 4570627"/>
                <a:gd name="connsiteY71" fmla="*/ 3970623 h 5084434"/>
                <a:gd name="connsiteX72" fmla="*/ 3788011 w 4570627"/>
                <a:gd name="connsiteY72" fmla="*/ 4174560 h 5084434"/>
                <a:gd name="connsiteX73" fmla="*/ 3772323 w 4570627"/>
                <a:gd name="connsiteY73" fmla="*/ 4394185 h 5084434"/>
                <a:gd name="connsiteX74" fmla="*/ 3866448 w 4570627"/>
                <a:gd name="connsiteY74" fmla="*/ 4503997 h 5084434"/>
                <a:gd name="connsiteX75" fmla="*/ 3897823 w 4570627"/>
                <a:gd name="connsiteY75" fmla="*/ 4739310 h 5084434"/>
                <a:gd name="connsiteX76" fmla="*/ 3819386 w 4570627"/>
                <a:gd name="connsiteY76" fmla="*/ 4849122 h 5084434"/>
                <a:gd name="connsiteX77" fmla="*/ 3662511 w 4570627"/>
                <a:gd name="connsiteY77" fmla="*/ 4770684 h 5084434"/>
                <a:gd name="connsiteX78" fmla="*/ 3615449 w 4570627"/>
                <a:gd name="connsiteY78" fmla="*/ 4692247 h 5084434"/>
                <a:gd name="connsiteX79" fmla="*/ 3615449 w 4570627"/>
                <a:gd name="connsiteY79" fmla="*/ 4551060 h 5084434"/>
                <a:gd name="connsiteX80" fmla="*/ 3458574 w 4570627"/>
                <a:gd name="connsiteY80" fmla="*/ 4488310 h 5084434"/>
                <a:gd name="connsiteX81" fmla="*/ 3395824 w 4570627"/>
                <a:gd name="connsiteY81" fmla="*/ 4613810 h 5084434"/>
                <a:gd name="connsiteX82" fmla="*/ 3160513 w 4570627"/>
                <a:gd name="connsiteY82" fmla="*/ 4535372 h 5084434"/>
                <a:gd name="connsiteX83" fmla="*/ 3144825 w 4570627"/>
                <a:gd name="connsiteY83" fmla="*/ 4472622 h 5084434"/>
                <a:gd name="connsiteX84" fmla="*/ 2940888 w 4570627"/>
                <a:gd name="connsiteY84" fmla="*/ 4551060 h 5084434"/>
                <a:gd name="connsiteX85" fmla="*/ 2831076 w 4570627"/>
                <a:gd name="connsiteY85" fmla="*/ 4660872 h 5084434"/>
                <a:gd name="connsiteX86" fmla="*/ 2564389 w 4570627"/>
                <a:gd name="connsiteY86" fmla="*/ 4692247 h 5084434"/>
                <a:gd name="connsiteX87" fmla="*/ 2329077 w 4570627"/>
                <a:gd name="connsiteY87" fmla="*/ 4707935 h 5084434"/>
                <a:gd name="connsiteX88" fmla="*/ 2125140 w 4570627"/>
                <a:gd name="connsiteY88" fmla="*/ 4896184 h 5084434"/>
                <a:gd name="connsiteX89" fmla="*/ 1936891 w 4570627"/>
                <a:gd name="connsiteY89" fmla="*/ 4943247 h 5084434"/>
                <a:gd name="connsiteX90" fmla="*/ 1717266 w 4570627"/>
                <a:gd name="connsiteY90" fmla="*/ 4833434 h 5084434"/>
                <a:gd name="connsiteX91" fmla="*/ 1701579 w 4570627"/>
                <a:gd name="connsiteY91" fmla="*/ 4707935 h 5084434"/>
                <a:gd name="connsiteX92" fmla="*/ 1576079 w 4570627"/>
                <a:gd name="connsiteY92" fmla="*/ 4660872 h 5084434"/>
                <a:gd name="connsiteX93" fmla="*/ 1419205 w 4570627"/>
                <a:gd name="connsiteY93" fmla="*/ 4660872 h 5084434"/>
                <a:gd name="connsiteX94" fmla="*/ 1340768 w 4570627"/>
                <a:gd name="connsiteY94" fmla="*/ 4754997 h 5084434"/>
                <a:gd name="connsiteX95" fmla="*/ 1309393 w 4570627"/>
                <a:gd name="connsiteY95" fmla="*/ 4911872 h 5084434"/>
                <a:gd name="connsiteX96" fmla="*/ 1246643 w 4570627"/>
                <a:gd name="connsiteY96" fmla="*/ 5005997 h 5084434"/>
                <a:gd name="connsiteX97" fmla="*/ 1152518 w 4570627"/>
                <a:gd name="connsiteY97" fmla="*/ 5084434 h 5084434"/>
                <a:gd name="connsiteX98" fmla="*/ 964268 w 4570627"/>
                <a:gd name="connsiteY98" fmla="*/ 5037372 h 5084434"/>
                <a:gd name="connsiteX99" fmla="*/ 948581 w 4570627"/>
                <a:gd name="connsiteY99" fmla="*/ 4770684 h 5084434"/>
                <a:gd name="connsiteX100" fmla="*/ 807394 w 4570627"/>
                <a:gd name="connsiteY100" fmla="*/ 4676560 h 5084434"/>
                <a:gd name="connsiteX101" fmla="*/ 773692 w 4570627"/>
                <a:gd name="connsiteY101" fmla="*/ 4676560 h 5084434"/>
                <a:gd name="connsiteX102" fmla="*/ 802640 w 4570627"/>
                <a:gd name="connsiteY102" fmla="*/ 4625242 h 5084434"/>
                <a:gd name="connsiteX103" fmla="*/ 894080 w 4570627"/>
                <a:gd name="connsiteY103" fmla="*/ 4526182 h 5084434"/>
                <a:gd name="connsiteX104" fmla="*/ 1122680 w 4570627"/>
                <a:gd name="connsiteY104" fmla="*/ 4556662 h 5084434"/>
                <a:gd name="connsiteX105" fmla="*/ 1168400 w 4570627"/>
                <a:gd name="connsiteY105" fmla="*/ 4488082 h 5084434"/>
                <a:gd name="connsiteX106" fmla="*/ 1122680 w 4570627"/>
                <a:gd name="connsiteY106" fmla="*/ 4358542 h 5084434"/>
                <a:gd name="connsiteX107" fmla="*/ 1160780 w 4570627"/>
                <a:gd name="connsiteY107" fmla="*/ 4305202 h 5084434"/>
                <a:gd name="connsiteX108" fmla="*/ 1130300 w 4570627"/>
                <a:gd name="connsiteY108" fmla="*/ 4213762 h 5084434"/>
                <a:gd name="connsiteX109" fmla="*/ 1160780 w 4570627"/>
                <a:gd name="connsiteY109" fmla="*/ 3893722 h 5084434"/>
                <a:gd name="connsiteX110" fmla="*/ 1038860 w 4570627"/>
                <a:gd name="connsiteY110" fmla="*/ 3482242 h 5084434"/>
                <a:gd name="connsiteX111" fmla="*/ 1130300 w 4570627"/>
                <a:gd name="connsiteY111" fmla="*/ 3322222 h 5084434"/>
                <a:gd name="connsiteX112" fmla="*/ 1183640 w 4570627"/>
                <a:gd name="connsiteY112" fmla="*/ 3360322 h 5084434"/>
                <a:gd name="connsiteX113" fmla="*/ 1336040 w 4570627"/>
                <a:gd name="connsiteY113" fmla="*/ 3261262 h 5084434"/>
                <a:gd name="connsiteX114" fmla="*/ 1351280 w 4570627"/>
                <a:gd name="connsiteY114" fmla="*/ 3131722 h 5084434"/>
                <a:gd name="connsiteX115" fmla="*/ 1290320 w 4570627"/>
                <a:gd name="connsiteY115" fmla="*/ 3055522 h 5084434"/>
                <a:gd name="connsiteX116" fmla="*/ 1290320 w 4570627"/>
                <a:gd name="connsiteY116" fmla="*/ 3009802 h 5084434"/>
                <a:gd name="connsiteX117" fmla="*/ 1366520 w 4570627"/>
                <a:gd name="connsiteY117" fmla="*/ 3009802 h 5084434"/>
                <a:gd name="connsiteX118" fmla="*/ 1389380 w 4570627"/>
                <a:gd name="connsiteY118" fmla="*/ 3055522 h 5084434"/>
                <a:gd name="connsiteX119" fmla="*/ 1518920 w 4570627"/>
                <a:gd name="connsiteY119" fmla="*/ 3025042 h 5084434"/>
                <a:gd name="connsiteX120" fmla="*/ 1503680 w 4570627"/>
                <a:gd name="connsiteY120" fmla="*/ 2933602 h 5084434"/>
                <a:gd name="connsiteX121" fmla="*/ 1450340 w 4570627"/>
                <a:gd name="connsiteY121" fmla="*/ 2872642 h 5084434"/>
                <a:gd name="connsiteX122" fmla="*/ 1488440 w 4570627"/>
                <a:gd name="connsiteY122" fmla="*/ 2659282 h 5084434"/>
                <a:gd name="connsiteX123" fmla="*/ 1389380 w 4570627"/>
                <a:gd name="connsiteY123" fmla="*/ 2506882 h 5084434"/>
                <a:gd name="connsiteX124" fmla="*/ 1297940 w 4570627"/>
                <a:gd name="connsiteY124" fmla="*/ 2491642 h 5084434"/>
                <a:gd name="connsiteX125" fmla="*/ 1244600 w 4570627"/>
                <a:gd name="connsiteY125" fmla="*/ 2392582 h 5084434"/>
                <a:gd name="connsiteX126" fmla="*/ 1282700 w 4570627"/>
                <a:gd name="connsiteY126" fmla="*/ 2339242 h 5084434"/>
                <a:gd name="connsiteX127" fmla="*/ 1183640 w 4570627"/>
                <a:gd name="connsiteY127" fmla="*/ 2232562 h 5084434"/>
                <a:gd name="connsiteX128" fmla="*/ 1168400 w 4570627"/>
                <a:gd name="connsiteY128" fmla="*/ 2133502 h 5084434"/>
                <a:gd name="connsiteX129" fmla="*/ 1183640 w 4570627"/>
                <a:gd name="connsiteY129" fmla="*/ 2103022 h 5084434"/>
                <a:gd name="connsiteX130" fmla="*/ 1153160 w 4570627"/>
                <a:gd name="connsiteY130" fmla="*/ 1973482 h 5084434"/>
                <a:gd name="connsiteX131" fmla="*/ 1176020 w 4570627"/>
                <a:gd name="connsiteY131" fmla="*/ 1958242 h 5084434"/>
                <a:gd name="connsiteX132" fmla="*/ 1145540 w 4570627"/>
                <a:gd name="connsiteY132" fmla="*/ 1744882 h 5084434"/>
                <a:gd name="connsiteX133" fmla="*/ 1099820 w 4570627"/>
                <a:gd name="connsiteY133" fmla="*/ 1706782 h 5084434"/>
                <a:gd name="connsiteX134" fmla="*/ 1076960 w 4570627"/>
                <a:gd name="connsiteY134" fmla="*/ 1729642 h 5084434"/>
                <a:gd name="connsiteX135" fmla="*/ 1069340 w 4570627"/>
                <a:gd name="connsiteY135" fmla="*/ 1798222 h 5084434"/>
                <a:gd name="connsiteX136" fmla="*/ 970280 w 4570627"/>
                <a:gd name="connsiteY136" fmla="*/ 1805842 h 5084434"/>
                <a:gd name="connsiteX137" fmla="*/ 932180 w 4570627"/>
                <a:gd name="connsiteY137" fmla="*/ 1661062 h 5084434"/>
                <a:gd name="connsiteX138" fmla="*/ 871220 w 4570627"/>
                <a:gd name="connsiteY138" fmla="*/ 1706782 h 5084434"/>
                <a:gd name="connsiteX139" fmla="*/ 855980 w 4570627"/>
                <a:gd name="connsiteY139" fmla="*/ 1661062 h 5084434"/>
                <a:gd name="connsiteX140" fmla="*/ 924560 w 4570627"/>
                <a:gd name="connsiteY140" fmla="*/ 1600102 h 5084434"/>
                <a:gd name="connsiteX141" fmla="*/ 855980 w 4570627"/>
                <a:gd name="connsiteY141" fmla="*/ 1470562 h 5084434"/>
                <a:gd name="connsiteX142" fmla="*/ 825500 w 4570627"/>
                <a:gd name="connsiteY142" fmla="*/ 1417222 h 5084434"/>
                <a:gd name="connsiteX143" fmla="*/ 787400 w 4570627"/>
                <a:gd name="connsiteY143" fmla="*/ 1516282 h 5084434"/>
                <a:gd name="connsiteX144" fmla="*/ 772160 w 4570627"/>
                <a:gd name="connsiteY144" fmla="*/ 1455322 h 5084434"/>
                <a:gd name="connsiteX145" fmla="*/ 688340 w 4570627"/>
                <a:gd name="connsiteY145" fmla="*/ 1508662 h 5084434"/>
                <a:gd name="connsiteX146" fmla="*/ 695960 w 4570627"/>
                <a:gd name="connsiteY146" fmla="*/ 1363882 h 5084434"/>
                <a:gd name="connsiteX147" fmla="*/ 497840 w 4570627"/>
                <a:gd name="connsiteY147" fmla="*/ 1348642 h 5084434"/>
                <a:gd name="connsiteX148" fmla="*/ 353060 w 4570627"/>
                <a:gd name="connsiteY148" fmla="*/ 1401982 h 5084434"/>
                <a:gd name="connsiteX149" fmla="*/ 467360 w 4570627"/>
                <a:gd name="connsiteY149" fmla="*/ 1462942 h 5084434"/>
                <a:gd name="connsiteX150" fmla="*/ 474980 w 4570627"/>
                <a:gd name="connsiteY150" fmla="*/ 1539142 h 5084434"/>
                <a:gd name="connsiteX151" fmla="*/ 391160 w 4570627"/>
                <a:gd name="connsiteY151" fmla="*/ 1539142 h 5084434"/>
                <a:gd name="connsiteX152" fmla="*/ 360680 w 4570627"/>
                <a:gd name="connsiteY152" fmla="*/ 1638202 h 5084434"/>
                <a:gd name="connsiteX153" fmla="*/ 132080 w 4570627"/>
                <a:gd name="connsiteY153" fmla="*/ 1653442 h 5084434"/>
                <a:gd name="connsiteX154" fmla="*/ 69850 w 4570627"/>
                <a:gd name="connsiteY154" fmla="*/ 1620253 h 5084434"/>
                <a:gd name="connsiteX155" fmla="*/ 69850 w 4570627"/>
                <a:gd name="connsiteY155" fmla="*/ 1521362 h 5084434"/>
                <a:gd name="connsiteX156" fmla="*/ 146050 w 4570627"/>
                <a:gd name="connsiteY156" fmla="*/ 1381662 h 5084434"/>
                <a:gd name="connsiteX157" fmla="*/ 82550 w 4570627"/>
                <a:gd name="connsiteY157" fmla="*/ 1280062 h 5084434"/>
                <a:gd name="connsiteX158" fmla="*/ 25400 w 4570627"/>
                <a:gd name="connsiteY158" fmla="*/ 1254662 h 5084434"/>
                <a:gd name="connsiteX159" fmla="*/ 31750 w 4570627"/>
                <a:gd name="connsiteY159" fmla="*/ 1038762 h 5084434"/>
                <a:gd name="connsiteX160" fmla="*/ 0 w 4570627"/>
                <a:gd name="connsiteY160" fmla="*/ 962562 h 5084434"/>
                <a:gd name="connsiteX161" fmla="*/ 0 w 4570627"/>
                <a:gd name="connsiteY161" fmla="*/ 860962 h 5084434"/>
                <a:gd name="connsiteX162" fmla="*/ 107950 w 4570627"/>
                <a:gd name="connsiteY162" fmla="*/ 841912 h 5084434"/>
                <a:gd name="connsiteX163" fmla="*/ 127000 w 4570627"/>
                <a:gd name="connsiteY163" fmla="*/ 892712 h 5084434"/>
                <a:gd name="connsiteX164" fmla="*/ 215900 w 4570627"/>
                <a:gd name="connsiteY164" fmla="*/ 835562 h 5084434"/>
                <a:gd name="connsiteX165" fmla="*/ 368300 w 4570627"/>
                <a:gd name="connsiteY165" fmla="*/ 835562 h 5084434"/>
                <a:gd name="connsiteX166" fmla="*/ 368300 w 4570627"/>
                <a:gd name="connsiteY166" fmla="*/ 886362 h 5084434"/>
                <a:gd name="connsiteX167" fmla="*/ 495300 w 4570627"/>
                <a:gd name="connsiteY167" fmla="*/ 886362 h 5084434"/>
                <a:gd name="connsiteX168" fmla="*/ 488950 w 4570627"/>
                <a:gd name="connsiteY168" fmla="*/ 797462 h 5084434"/>
                <a:gd name="connsiteX169" fmla="*/ 488950 w 4570627"/>
                <a:gd name="connsiteY169" fmla="*/ 689512 h 5084434"/>
                <a:gd name="connsiteX170" fmla="*/ 596900 w 4570627"/>
                <a:gd name="connsiteY170" fmla="*/ 702212 h 5084434"/>
                <a:gd name="connsiteX171" fmla="*/ 679450 w 4570627"/>
                <a:gd name="connsiteY171" fmla="*/ 600612 h 5084434"/>
                <a:gd name="connsiteX172" fmla="*/ 717550 w 4570627"/>
                <a:gd name="connsiteY172" fmla="*/ 397412 h 5084434"/>
                <a:gd name="connsiteX173" fmla="*/ 812800 w 4570627"/>
                <a:gd name="connsiteY173" fmla="*/ 448212 h 5084434"/>
                <a:gd name="connsiteX174" fmla="*/ 952500 w 4570627"/>
                <a:gd name="connsiteY174" fmla="*/ 352962 h 5084434"/>
                <a:gd name="connsiteX175" fmla="*/ 979517 w 4570627"/>
                <a:gd name="connsiteY175" fmla="*/ 312439 h 5084434"/>
                <a:gd name="connsiteX176" fmla="*/ 977900 w 4570627"/>
                <a:gd name="connsiteY176" fmla="*/ 359312 h 5084434"/>
                <a:gd name="connsiteX177" fmla="*/ 812800 w 4570627"/>
                <a:gd name="connsiteY177" fmla="*/ 98963 h 5084434"/>
                <a:gd name="connsiteX178" fmla="*/ 812801 w 4570627"/>
                <a:gd name="connsiteY178" fmla="*/ 98963 h 5084434"/>
                <a:gd name="connsiteX179" fmla="*/ 869950 w 4570627"/>
                <a:gd name="connsiteY179" fmla="*/ 156112 h 5084434"/>
                <a:gd name="connsiteX180" fmla="*/ 920750 w 4570627"/>
                <a:gd name="connsiteY180" fmla="*/ 143412 h 5084434"/>
                <a:gd name="connsiteX181" fmla="*/ 920750 w 4570627"/>
                <a:gd name="connsiteY181" fmla="*/ 143413 h 5084434"/>
                <a:gd name="connsiteX182" fmla="*/ 869950 w 4570627"/>
                <a:gd name="connsiteY182" fmla="*/ 156113 h 5084434"/>
                <a:gd name="connsiteX183" fmla="*/ 984250 w 4570627"/>
                <a:gd name="connsiteY183" fmla="*/ 86262 h 5084434"/>
                <a:gd name="connsiteX184" fmla="*/ 1022350 w 4570627"/>
                <a:gd name="connsiteY184" fmla="*/ 137062 h 5084434"/>
                <a:gd name="connsiteX185" fmla="*/ 1022350 w 4570627"/>
                <a:gd name="connsiteY185" fmla="*/ 137063 h 5084434"/>
                <a:gd name="connsiteX186" fmla="*/ 984250 w 4570627"/>
                <a:gd name="connsiteY186" fmla="*/ 86263 h 5084434"/>
                <a:gd name="connsiteX187" fmla="*/ 908051 w 4570627"/>
                <a:gd name="connsiteY187" fmla="*/ 92613 h 5084434"/>
                <a:gd name="connsiteX188" fmla="*/ 908050 w 4570627"/>
                <a:gd name="connsiteY188" fmla="*/ 92612 h 5084434"/>
                <a:gd name="connsiteX189" fmla="*/ 3088137 w 4570627"/>
                <a:gd name="connsiteY189" fmla="*/ 0 h 5084434"/>
                <a:gd name="connsiteX190" fmla="*/ 3130550 w 4570627"/>
                <a:gd name="connsiteY190" fmla="*/ 98963 h 5084434"/>
                <a:gd name="connsiteX191" fmla="*/ 3130550 w 4570627"/>
                <a:gd name="connsiteY191" fmla="*/ 98964 h 5084434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2749550 w 4570627"/>
                <a:gd name="connsiteY5" fmla="*/ 196852 h 4998172"/>
                <a:gd name="connsiteX6" fmla="*/ 2749551 w 4570627"/>
                <a:gd name="connsiteY6" fmla="*/ 196852 h 4998172"/>
                <a:gd name="connsiteX7" fmla="*/ 2787650 w 4570627"/>
                <a:gd name="connsiteY7" fmla="*/ 241301 h 4998172"/>
                <a:gd name="connsiteX8" fmla="*/ 2844800 w 4570627"/>
                <a:gd name="connsiteY8" fmla="*/ 279401 h 4998172"/>
                <a:gd name="connsiteX9" fmla="*/ 2844800 w 4570627"/>
                <a:gd name="connsiteY9" fmla="*/ 279402 h 4998172"/>
                <a:gd name="connsiteX10" fmla="*/ 2787650 w 4570627"/>
                <a:gd name="connsiteY10" fmla="*/ 241302 h 4998172"/>
                <a:gd name="connsiteX11" fmla="*/ 2749550 w 4570627"/>
                <a:gd name="connsiteY11" fmla="*/ 196852 h 4998172"/>
                <a:gd name="connsiteX12" fmla="*/ 1060450 w 4570627"/>
                <a:gd name="connsiteY12" fmla="*/ 177800 h 4998172"/>
                <a:gd name="connsiteX13" fmla="*/ 1149350 w 4570627"/>
                <a:gd name="connsiteY13" fmla="*/ 215900 h 4998172"/>
                <a:gd name="connsiteX14" fmla="*/ 1263650 w 4570627"/>
                <a:gd name="connsiteY14" fmla="*/ 292100 h 4998172"/>
                <a:gd name="connsiteX15" fmla="*/ 1320800 w 4570627"/>
                <a:gd name="connsiteY15" fmla="*/ 412750 h 4998172"/>
                <a:gd name="connsiteX16" fmla="*/ 1371600 w 4570627"/>
                <a:gd name="connsiteY16" fmla="*/ 393700 h 4998172"/>
                <a:gd name="connsiteX17" fmla="*/ 1479550 w 4570627"/>
                <a:gd name="connsiteY17" fmla="*/ 501650 h 4998172"/>
                <a:gd name="connsiteX18" fmla="*/ 1530350 w 4570627"/>
                <a:gd name="connsiteY18" fmla="*/ 666750 h 4998172"/>
                <a:gd name="connsiteX19" fmla="*/ 1612900 w 4570627"/>
                <a:gd name="connsiteY19" fmla="*/ 711200 h 4998172"/>
                <a:gd name="connsiteX20" fmla="*/ 1638300 w 4570627"/>
                <a:gd name="connsiteY20" fmla="*/ 641350 h 4998172"/>
                <a:gd name="connsiteX21" fmla="*/ 1739900 w 4570627"/>
                <a:gd name="connsiteY21" fmla="*/ 647700 h 4998172"/>
                <a:gd name="connsiteX22" fmla="*/ 1746250 w 4570627"/>
                <a:gd name="connsiteY22" fmla="*/ 596900 h 4998172"/>
                <a:gd name="connsiteX23" fmla="*/ 1689100 w 4570627"/>
                <a:gd name="connsiteY23" fmla="*/ 565150 h 4998172"/>
                <a:gd name="connsiteX24" fmla="*/ 1638300 w 4570627"/>
                <a:gd name="connsiteY24" fmla="*/ 520700 h 4998172"/>
                <a:gd name="connsiteX25" fmla="*/ 1625600 w 4570627"/>
                <a:gd name="connsiteY25" fmla="*/ 469900 h 4998172"/>
                <a:gd name="connsiteX26" fmla="*/ 1778000 w 4570627"/>
                <a:gd name="connsiteY26" fmla="*/ 412750 h 4998172"/>
                <a:gd name="connsiteX27" fmla="*/ 1879600 w 4570627"/>
                <a:gd name="connsiteY27" fmla="*/ 425450 h 4998172"/>
                <a:gd name="connsiteX28" fmla="*/ 1873250 w 4570627"/>
                <a:gd name="connsiteY28" fmla="*/ 488950 h 4998172"/>
                <a:gd name="connsiteX29" fmla="*/ 1981200 w 4570627"/>
                <a:gd name="connsiteY29" fmla="*/ 482600 h 4998172"/>
                <a:gd name="connsiteX30" fmla="*/ 2006600 w 4570627"/>
                <a:gd name="connsiteY30" fmla="*/ 482600 h 4998172"/>
                <a:gd name="connsiteX31" fmla="*/ 2032000 w 4570627"/>
                <a:gd name="connsiteY31" fmla="*/ 584200 h 4998172"/>
                <a:gd name="connsiteX32" fmla="*/ 2133600 w 4570627"/>
                <a:gd name="connsiteY32" fmla="*/ 596900 h 4998172"/>
                <a:gd name="connsiteX33" fmla="*/ 2171700 w 4570627"/>
                <a:gd name="connsiteY33" fmla="*/ 463550 h 4998172"/>
                <a:gd name="connsiteX34" fmla="*/ 2146300 w 4570627"/>
                <a:gd name="connsiteY34" fmla="*/ 323850 h 4998172"/>
                <a:gd name="connsiteX35" fmla="*/ 2216150 w 4570627"/>
                <a:gd name="connsiteY35" fmla="*/ 241300 h 4998172"/>
                <a:gd name="connsiteX36" fmla="*/ 2279650 w 4570627"/>
                <a:gd name="connsiteY36" fmla="*/ 234950 h 4998172"/>
                <a:gd name="connsiteX37" fmla="*/ 2305050 w 4570627"/>
                <a:gd name="connsiteY37" fmla="*/ 330200 h 4998172"/>
                <a:gd name="connsiteX38" fmla="*/ 2374900 w 4570627"/>
                <a:gd name="connsiteY38" fmla="*/ 393700 h 4998172"/>
                <a:gd name="connsiteX39" fmla="*/ 2381250 w 4570627"/>
                <a:gd name="connsiteY39" fmla="*/ 457200 h 4998172"/>
                <a:gd name="connsiteX40" fmla="*/ 2514600 w 4570627"/>
                <a:gd name="connsiteY40" fmla="*/ 406400 h 4998172"/>
                <a:gd name="connsiteX41" fmla="*/ 2641600 w 4570627"/>
                <a:gd name="connsiteY41" fmla="*/ 381000 h 4998172"/>
                <a:gd name="connsiteX42" fmla="*/ 2686050 w 4570627"/>
                <a:gd name="connsiteY42" fmla="*/ 419100 h 4998172"/>
                <a:gd name="connsiteX43" fmla="*/ 2774950 w 4570627"/>
                <a:gd name="connsiteY43" fmla="*/ 368300 h 4998172"/>
                <a:gd name="connsiteX44" fmla="*/ 2796953 w 4570627"/>
                <a:gd name="connsiteY44" fmla="*/ 370396 h 4998172"/>
                <a:gd name="connsiteX45" fmla="*/ 2787650 w 4570627"/>
                <a:gd name="connsiteY45" fmla="*/ 349252 h 4998172"/>
                <a:gd name="connsiteX46" fmla="*/ 2857500 w 4570627"/>
                <a:gd name="connsiteY46" fmla="*/ 508001 h 4998172"/>
                <a:gd name="connsiteX47" fmla="*/ 2971800 w 4570627"/>
                <a:gd name="connsiteY47" fmla="*/ 533401 h 4998172"/>
                <a:gd name="connsiteX48" fmla="*/ 3054350 w 4570627"/>
                <a:gd name="connsiteY48" fmla="*/ 552451 h 4998172"/>
                <a:gd name="connsiteX49" fmla="*/ 3093057 w 4570627"/>
                <a:gd name="connsiteY49" fmla="*/ 707281 h 4998172"/>
                <a:gd name="connsiteX50" fmla="*/ 3011086 w 4570627"/>
                <a:gd name="connsiteY50" fmla="*/ 588423 h 4998172"/>
                <a:gd name="connsiteX51" fmla="*/ 2924805 w 4570627"/>
                <a:gd name="connsiteY51" fmla="*/ 674704 h 4998172"/>
                <a:gd name="connsiteX52" fmla="*/ 3026774 w 4570627"/>
                <a:gd name="connsiteY52" fmla="*/ 784516 h 4998172"/>
                <a:gd name="connsiteX53" fmla="*/ 3050305 w 4570627"/>
                <a:gd name="connsiteY53" fmla="*/ 957078 h 4998172"/>
                <a:gd name="connsiteX54" fmla="*/ 3348367 w 4570627"/>
                <a:gd name="connsiteY54" fmla="*/ 1129641 h 4998172"/>
                <a:gd name="connsiteX55" fmla="*/ 3411117 w 4570627"/>
                <a:gd name="connsiteY55" fmla="*/ 1239453 h 4998172"/>
                <a:gd name="connsiteX56" fmla="*/ 3262086 w 4570627"/>
                <a:gd name="connsiteY56" fmla="*/ 1419859 h 4998172"/>
                <a:gd name="connsiteX57" fmla="*/ 3395429 w 4570627"/>
                <a:gd name="connsiteY57" fmla="*/ 1663015 h 4998172"/>
                <a:gd name="connsiteX58" fmla="*/ 3489554 w 4570627"/>
                <a:gd name="connsiteY58" fmla="*/ 1945389 h 4998172"/>
                <a:gd name="connsiteX59" fmla="*/ 3638585 w 4570627"/>
                <a:gd name="connsiteY59" fmla="*/ 2110108 h 4998172"/>
                <a:gd name="connsiteX60" fmla="*/ 3756241 w 4570627"/>
                <a:gd name="connsiteY60" fmla="*/ 2015983 h 4998172"/>
                <a:gd name="connsiteX61" fmla="*/ 3905271 w 4570627"/>
                <a:gd name="connsiteY61" fmla="*/ 2259139 h 4998172"/>
                <a:gd name="connsiteX62" fmla="*/ 4007240 w 4570627"/>
                <a:gd name="connsiteY62" fmla="*/ 2376795 h 4998172"/>
                <a:gd name="connsiteX63" fmla="*/ 4124896 w 4570627"/>
                <a:gd name="connsiteY63" fmla="*/ 2376795 h 4998172"/>
                <a:gd name="connsiteX64" fmla="*/ 4328833 w 4570627"/>
                <a:gd name="connsiteY64" fmla="*/ 2659169 h 4998172"/>
                <a:gd name="connsiteX65" fmla="*/ 4446489 w 4570627"/>
                <a:gd name="connsiteY65" fmla="*/ 2643482 h 4998172"/>
                <a:gd name="connsiteX66" fmla="*/ 4564145 w 4570627"/>
                <a:gd name="connsiteY66" fmla="*/ 2768982 h 4998172"/>
                <a:gd name="connsiteX67" fmla="*/ 4570627 w 4570627"/>
                <a:gd name="connsiteY67" fmla="*/ 2778982 h 4998172"/>
                <a:gd name="connsiteX68" fmla="*/ 4493946 w 4570627"/>
                <a:gd name="connsiteY68" fmla="*/ 3147050 h 4998172"/>
                <a:gd name="connsiteX69" fmla="*/ 4274322 w 4570627"/>
                <a:gd name="connsiteY69" fmla="*/ 3162737 h 4998172"/>
                <a:gd name="connsiteX70" fmla="*/ 4180197 w 4570627"/>
                <a:gd name="connsiteY70" fmla="*/ 3492174 h 4998172"/>
                <a:gd name="connsiteX71" fmla="*/ 3819386 w 4570627"/>
                <a:gd name="connsiteY71" fmla="*/ 3617674 h 4998172"/>
                <a:gd name="connsiteX72" fmla="*/ 3552699 w 4570627"/>
                <a:gd name="connsiteY72" fmla="*/ 3774549 h 4998172"/>
                <a:gd name="connsiteX73" fmla="*/ 3552699 w 4570627"/>
                <a:gd name="connsiteY73" fmla="*/ 3884361 h 4998172"/>
                <a:gd name="connsiteX74" fmla="*/ 3788011 w 4570627"/>
                <a:gd name="connsiteY74" fmla="*/ 4088298 h 4998172"/>
                <a:gd name="connsiteX75" fmla="*/ 3772323 w 4570627"/>
                <a:gd name="connsiteY75" fmla="*/ 4307923 h 4998172"/>
                <a:gd name="connsiteX76" fmla="*/ 3866448 w 4570627"/>
                <a:gd name="connsiteY76" fmla="*/ 4417735 h 4998172"/>
                <a:gd name="connsiteX77" fmla="*/ 3897823 w 4570627"/>
                <a:gd name="connsiteY77" fmla="*/ 4653048 h 4998172"/>
                <a:gd name="connsiteX78" fmla="*/ 3819386 w 4570627"/>
                <a:gd name="connsiteY78" fmla="*/ 4762860 h 4998172"/>
                <a:gd name="connsiteX79" fmla="*/ 3662511 w 4570627"/>
                <a:gd name="connsiteY79" fmla="*/ 4684422 h 4998172"/>
                <a:gd name="connsiteX80" fmla="*/ 3615449 w 4570627"/>
                <a:gd name="connsiteY80" fmla="*/ 4605985 h 4998172"/>
                <a:gd name="connsiteX81" fmla="*/ 3615449 w 4570627"/>
                <a:gd name="connsiteY81" fmla="*/ 4464798 h 4998172"/>
                <a:gd name="connsiteX82" fmla="*/ 3458574 w 4570627"/>
                <a:gd name="connsiteY82" fmla="*/ 4402048 h 4998172"/>
                <a:gd name="connsiteX83" fmla="*/ 3395824 w 4570627"/>
                <a:gd name="connsiteY83" fmla="*/ 4527548 h 4998172"/>
                <a:gd name="connsiteX84" fmla="*/ 3160513 w 4570627"/>
                <a:gd name="connsiteY84" fmla="*/ 4449110 h 4998172"/>
                <a:gd name="connsiteX85" fmla="*/ 3144825 w 4570627"/>
                <a:gd name="connsiteY85" fmla="*/ 4386360 h 4998172"/>
                <a:gd name="connsiteX86" fmla="*/ 2940888 w 4570627"/>
                <a:gd name="connsiteY86" fmla="*/ 4464798 h 4998172"/>
                <a:gd name="connsiteX87" fmla="*/ 2831076 w 4570627"/>
                <a:gd name="connsiteY87" fmla="*/ 4574610 h 4998172"/>
                <a:gd name="connsiteX88" fmla="*/ 2564389 w 4570627"/>
                <a:gd name="connsiteY88" fmla="*/ 4605985 h 4998172"/>
                <a:gd name="connsiteX89" fmla="*/ 2329077 w 4570627"/>
                <a:gd name="connsiteY89" fmla="*/ 4621673 h 4998172"/>
                <a:gd name="connsiteX90" fmla="*/ 2125140 w 4570627"/>
                <a:gd name="connsiteY90" fmla="*/ 4809922 h 4998172"/>
                <a:gd name="connsiteX91" fmla="*/ 1936891 w 4570627"/>
                <a:gd name="connsiteY91" fmla="*/ 4856985 h 4998172"/>
                <a:gd name="connsiteX92" fmla="*/ 1717266 w 4570627"/>
                <a:gd name="connsiteY92" fmla="*/ 4747172 h 4998172"/>
                <a:gd name="connsiteX93" fmla="*/ 1701579 w 4570627"/>
                <a:gd name="connsiteY93" fmla="*/ 4621673 h 4998172"/>
                <a:gd name="connsiteX94" fmla="*/ 1576079 w 4570627"/>
                <a:gd name="connsiteY94" fmla="*/ 4574610 h 4998172"/>
                <a:gd name="connsiteX95" fmla="*/ 1419205 w 4570627"/>
                <a:gd name="connsiteY95" fmla="*/ 4574610 h 4998172"/>
                <a:gd name="connsiteX96" fmla="*/ 1340768 w 4570627"/>
                <a:gd name="connsiteY96" fmla="*/ 4668735 h 4998172"/>
                <a:gd name="connsiteX97" fmla="*/ 1309393 w 4570627"/>
                <a:gd name="connsiteY97" fmla="*/ 4825610 h 4998172"/>
                <a:gd name="connsiteX98" fmla="*/ 1246643 w 4570627"/>
                <a:gd name="connsiteY98" fmla="*/ 4919735 h 4998172"/>
                <a:gd name="connsiteX99" fmla="*/ 1152518 w 4570627"/>
                <a:gd name="connsiteY99" fmla="*/ 4998172 h 4998172"/>
                <a:gd name="connsiteX100" fmla="*/ 964268 w 4570627"/>
                <a:gd name="connsiteY100" fmla="*/ 4951110 h 4998172"/>
                <a:gd name="connsiteX101" fmla="*/ 948581 w 4570627"/>
                <a:gd name="connsiteY101" fmla="*/ 4684422 h 4998172"/>
                <a:gd name="connsiteX102" fmla="*/ 807394 w 4570627"/>
                <a:gd name="connsiteY102" fmla="*/ 4590298 h 4998172"/>
                <a:gd name="connsiteX103" fmla="*/ 773692 w 4570627"/>
                <a:gd name="connsiteY103" fmla="*/ 4590298 h 4998172"/>
                <a:gd name="connsiteX104" fmla="*/ 802640 w 4570627"/>
                <a:gd name="connsiteY104" fmla="*/ 4538980 h 4998172"/>
                <a:gd name="connsiteX105" fmla="*/ 894080 w 4570627"/>
                <a:gd name="connsiteY105" fmla="*/ 4439920 h 4998172"/>
                <a:gd name="connsiteX106" fmla="*/ 1122680 w 4570627"/>
                <a:gd name="connsiteY106" fmla="*/ 4470400 h 4998172"/>
                <a:gd name="connsiteX107" fmla="*/ 1168400 w 4570627"/>
                <a:gd name="connsiteY107" fmla="*/ 4401820 h 4998172"/>
                <a:gd name="connsiteX108" fmla="*/ 1122680 w 4570627"/>
                <a:gd name="connsiteY108" fmla="*/ 4272280 h 4998172"/>
                <a:gd name="connsiteX109" fmla="*/ 1160780 w 4570627"/>
                <a:gd name="connsiteY109" fmla="*/ 4218940 h 4998172"/>
                <a:gd name="connsiteX110" fmla="*/ 1130300 w 4570627"/>
                <a:gd name="connsiteY110" fmla="*/ 4127500 h 4998172"/>
                <a:gd name="connsiteX111" fmla="*/ 1160780 w 4570627"/>
                <a:gd name="connsiteY111" fmla="*/ 3807460 h 4998172"/>
                <a:gd name="connsiteX112" fmla="*/ 1038860 w 4570627"/>
                <a:gd name="connsiteY112" fmla="*/ 3395980 h 4998172"/>
                <a:gd name="connsiteX113" fmla="*/ 1130300 w 4570627"/>
                <a:gd name="connsiteY113" fmla="*/ 3235960 h 4998172"/>
                <a:gd name="connsiteX114" fmla="*/ 1183640 w 4570627"/>
                <a:gd name="connsiteY114" fmla="*/ 3274060 h 4998172"/>
                <a:gd name="connsiteX115" fmla="*/ 1336040 w 4570627"/>
                <a:gd name="connsiteY115" fmla="*/ 3175000 h 4998172"/>
                <a:gd name="connsiteX116" fmla="*/ 1351280 w 4570627"/>
                <a:gd name="connsiteY116" fmla="*/ 3045460 h 4998172"/>
                <a:gd name="connsiteX117" fmla="*/ 1290320 w 4570627"/>
                <a:gd name="connsiteY117" fmla="*/ 2969260 h 4998172"/>
                <a:gd name="connsiteX118" fmla="*/ 1290320 w 4570627"/>
                <a:gd name="connsiteY118" fmla="*/ 2923540 h 4998172"/>
                <a:gd name="connsiteX119" fmla="*/ 1366520 w 4570627"/>
                <a:gd name="connsiteY119" fmla="*/ 2923540 h 4998172"/>
                <a:gd name="connsiteX120" fmla="*/ 1389380 w 4570627"/>
                <a:gd name="connsiteY120" fmla="*/ 2969260 h 4998172"/>
                <a:gd name="connsiteX121" fmla="*/ 1518920 w 4570627"/>
                <a:gd name="connsiteY121" fmla="*/ 2938780 h 4998172"/>
                <a:gd name="connsiteX122" fmla="*/ 1503680 w 4570627"/>
                <a:gd name="connsiteY122" fmla="*/ 2847340 h 4998172"/>
                <a:gd name="connsiteX123" fmla="*/ 1450340 w 4570627"/>
                <a:gd name="connsiteY123" fmla="*/ 2786380 h 4998172"/>
                <a:gd name="connsiteX124" fmla="*/ 1488440 w 4570627"/>
                <a:gd name="connsiteY124" fmla="*/ 2573020 h 4998172"/>
                <a:gd name="connsiteX125" fmla="*/ 1389380 w 4570627"/>
                <a:gd name="connsiteY125" fmla="*/ 2420620 h 4998172"/>
                <a:gd name="connsiteX126" fmla="*/ 1297940 w 4570627"/>
                <a:gd name="connsiteY126" fmla="*/ 2405380 h 4998172"/>
                <a:gd name="connsiteX127" fmla="*/ 1244600 w 4570627"/>
                <a:gd name="connsiteY127" fmla="*/ 2306320 h 4998172"/>
                <a:gd name="connsiteX128" fmla="*/ 1282700 w 4570627"/>
                <a:gd name="connsiteY128" fmla="*/ 2252980 h 4998172"/>
                <a:gd name="connsiteX129" fmla="*/ 1183640 w 4570627"/>
                <a:gd name="connsiteY129" fmla="*/ 2146300 h 4998172"/>
                <a:gd name="connsiteX130" fmla="*/ 1168400 w 4570627"/>
                <a:gd name="connsiteY130" fmla="*/ 2047240 h 4998172"/>
                <a:gd name="connsiteX131" fmla="*/ 1183640 w 4570627"/>
                <a:gd name="connsiteY131" fmla="*/ 2016760 h 4998172"/>
                <a:gd name="connsiteX132" fmla="*/ 1153160 w 4570627"/>
                <a:gd name="connsiteY132" fmla="*/ 1887220 h 4998172"/>
                <a:gd name="connsiteX133" fmla="*/ 1176020 w 4570627"/>
                <a:gd name="connsiteY133" fmla="*/ 1871980 h 4998172"/>
                <a:gd name="connsiteX134" fmla="*/ 1145540 w 4570627"/>
                <a:gd name="connsiteY134" fmla="*/ 1658620 h 4998172"/>
                <a:gd name="connsiteX135" fmla="*/ 1099820 w 4570627"/>
                <a:gd name="connsiteY135" fmla="*/ 1620520 h 4998172"/>
                <a:gd name="connsiteX136" fmla="*/ 1076960 w 4570627"/>
                <a:gd name="connsiteY136" fmla="*/ 1643380 h 4998172"/>
                <a:gd name="connsiteX137" fmla="*/ 1069340 w 4570627"/>
                <a:gd name="connsiteY137" fmla="*/ 1711960 h 4998172"/>
                <a:gd name="connsiteX138" fmla="*/ 970280 w 4570627"/>
                <a:gd name="connsiteY138" fmla="*/ 1719580 h 4998172"/>
                <a:gd name="connsiteX139" fmla="*/ 932180 w 4570627"/>
                <a:gd name="connsiteY139" fmla="*/ 1574800 h 4998172"/>
                <a:gd name="connsiteX140" fmla="*/ 871220 w 4570627"/>
                <a:gd name="connsiteY140" fmla="*/ 1620520 h 4998172"/>
                <a:gd name="connsiteX141" fmla="*/ 855980 w 4570627"/>
                <a:gd name="connsiteY141" fmla="*/ 1574800 h 4998172"/>
                <a:gd name="connsiteX142" fmla="*/ 924560 w 4570627"/>
                <a:gd name="connsiteY142" fmla="*/ 1513840 h 4998172"/>
                <a:gd name="connsiteX143" fmla="*/ 855980 w 4570627"/>
                <a:gd name="connsiteY143" fmla="*/ 1384300 h 4998172"/>
                <a:gd name="connsiteX144" fmla="*/ 825500 w 4570627"/>
                <a:gd name="connsiteY144" fmla="*/ 1330960 h 4998172"/>
                <a:gd name="connsiteX145" fmla="*/ 787400 w 4570627"/>
                <a:gd name="connsiteY145" fmla="*/ 1430020 h 4998172"/>
                <a:gd name="connsiteX146" fmla="*/ 772160 w 4570627"/>
                <a:gd name="connsiteY146" fmla="*/ 1369060 h 4998172"/>
                <a:gd name="connsiteX147" fmla="*/ 688340 w 4570627"/>
                <a:gd name="connsiteY147" fmla="*/ 1422400 h 4998172"/>
                <a:gd name="connsiteX148" fmla="*/ 695960 w 4570627"/>
                <a:gd name="connsiteY148" fmla="*/ 1277620 h 4998172"/>
                <a:gd name="connsiteX149" fmla="*/ 497840 w 4570627"/>
                <a:gd name="connsiteY149" fmla="*/ 1262380 h 4998172"/>
                <a:gd name="connsiteX150" fmla="*/ 353060 w 4570627"/>
                <a:gd name="connsiteY150" fmla="*/ 1315720 h 4998172"/>
                <a:gd name="connsiteX151" fmla="*/ 467360 w 4570627"/>
                <a:gd name="connsiteY151" fmla="*/ 1376680 h 4998172"/>
                <a:gd name="connsiteX152" fmla="*/ 474980 w 4570627"/>
                <a:gd name="connsiteY152" fmla="*/ 1452880 h 4998172"/>
                <a:gd name="connsiteX153" fmla="*/ 391160 w 4570627"/>
                <a:gd name="connsiteY153" fmla="*/ 1452880 h 4998172"/>
                <a:gd name="connsiteX154" fmla="*/ 360680 w 4570627"/>
                <a:gd name="connsiteY154" fmla="*/ 1551940 h 4998172"/>
                <a:gd name="connsiteX155" fmla="*/ 132080 w 4570627"/>
                <a:gd name="connsiteY155" fmla="*/ 1567180 h 4998172"/>
                <a:gd name="connsiteX156" fmla="*/ 69850 w 4570627"/>
                <a:gd name="connsiteY156" fmla="*/ 1533991 h 4998172"/>
                <a:gd name="connsiteX157" fmla="*/ 69850 w 4570627"/>
                <a:gd name="connsiteY157" fmla="*/ 1435100 h 4998172"/>
                <a:gd name="connsiteX158" fmla="*/ 146050 w 4570627"/>
                <a:gd name="connsiteY158" fmla="*/ 1295400 h 4998172"/>
                <a:gd name="connsiteX159" fmla="*/ 82550 w 4570627"/>
                <a:gd name="connsiteY159" fmla="*/ 1193800 h 4998172"/>
                <a:gd name="connsiteX160" fmla="*/ 25400 w 4570627"/>
                <a:gd name="connsiteY160" fmla="*/ 1168400 h 4998172"/>
                <a:gd name="connsiteX161" fmla="*/ 31750 w 4570627"/>
                <a:gd name="connsiteY161" fmla="*/ 952500 h 4998172"/>
                <a:gd name="connsiteX162" fmla="*/ 0 w 4570627"/>
                <a:gd name="connsiteY162" fmla="*/ 876300 h 4998172"/>
                <a:gd name="connsiteX163" fmla="*/ 0 w 4570627"/>
                <a:gd name="connsiteY163" fmla="*/ 774700 h 4998172"/>
                <a:gd name="connsiteX164" fmla="*/ 107950 w 4570627"/>
                <a:gd name="connsiteY164" fmla="*/ 755650 h 4998172"/>
                <a:gd name="connsiteX165" fmla="*/ 127000 w 4570627"/>
                <a:gd name="connsiteY165" fmla="*/ 806450 h 4998172"/>
                <a:gd name="connsiteX166" fmla="*/ 215900 w 4570627"/>
                <a:gd name="connsiteY166" fmla="*/ 749300 h 4998172"/>
                <a:gd name="connsiteX167" fmla="*/ 368300 w 4570627"/>
                <a:gd name="connsiteY167" fmla="*/ 749300 h 4998172"/>
                <a:gd name="connsiteX168" fmla="*/ 368300 w 4570627"/>
                <a:gd name="connsiteY168" fmla="*/ 800100 h 4998172"/>
                <a:gd name="connsiteX169" fmla="*/ 495300 w 4570627"/>
                <a:gd name="connsiteY169" fmla="*/ 800100 h 4998172"/>
                <a:gd name="connsiteX170" fmla="*/ 488950 w 4570627"/>
                <a:gd name="connsiteY170" fmla="*/ 711200 h 4998172"/>
                <a:gd name="connsiteX171" fmla="*/ 488950 w 4570627"/>
                <a:gd name="connsiteY171" fmla="*/ 603250 h 4998172"/>
                <a:gd name="connsiteX172" fmla="*/ 596900 w 4570627"/>
                <a:gd name="connsiteY172" fmla="*/ 615950 h 4998172"/>
                <a:gd name="connsiteX173" fmla="*/ 679450 w 4570627"/>
                <a:gd name="connsiteY173" fmla="*/ 514350 h 4998172"/>
                <a:gd name="connsiteX174" fmla="*/ 717550 w 4570627"/>
                <a:gd name="connsiteY174" fmla="*/ 311150 h 4998172"/>
                <a:gd name="connsiteX175" fmla="*/ 812800 w 4570627"/>
                <a:gd name="connsiteY175" fmla="*/ 361950 h 4998172"/>
                <a:gd name="connsiteX176" fmla="*/ 952500 w 4570627"/>
                <a:gd name="connsiteY176" fmla="*/ 266700 h 4998172"/>
                <a:gd name="connsiteX177" fmla="*/ 979517 w 4570627"/>
                <a:gd name="connsiteY177" fmla="*/ 226177 h 4998172"/>
                <a:gd name="connsiteX178" fmla="*/ 977900 w 4570627"/>
                <a:gd name="connsiteY178" fmla="*/ 273050 h 4998172"/>
                <a:gd name="connsiteX179" fmla="*/ 1060450 w 4570627"/>
                <a:gd name="connsiteY179" fmla="*/ 177800 h 4998172"/>
                <a:gd name="connsiteX180" fmla="*/ 812800 w 4570627"/>
                <a:gd name="connsiteY180" fmla="*/ 12701 h 4998172"/>
                <a:gd name="connsiteX181" fmla="*/ 812801 w 4570627"/>
                <a:gd name="connsiteY181" fmla="*/ 12701 h 4998172"/>
                <a:gd name="connsiteX182" fmla="*/ 869950 w 4570627"/>
                <a:gd name="connsiteY182" fmla="*/ 69850 h 4998172"/>
                <a:gd name="connsiteX183" fmla="*/ 920750 w 4570627"/>
                <a:gd name="connsiteY183" fmla="*/ 57150 h 4998172"/>
                <a:gd name="connsiteX184" fmla="*/ 920750 w 4570627"/>
                <a:gd name="connsiteY184" fmla="*/ 57151 h 4998172"/>
                <a:gd name="connsiteX185" fmla="*/ 869950 w 4570627"/>
                <a:gd name="connsiteY185" fmla="*/ 69851 h 4998172"/>
                <a:gd name="connsiteX186" fmla="*/ 812800 w 4570627"/>
                <a:gd name="connsiteY186" fmla="*/ 12701 h 4998172"/>
                <a:gd name="connsiteX187" fmla="*/ 984250 w 4570627"/>
                <a:gd name="connsiteY187" fmla="*/ 0 h 4998172"/>
                <a:gd name="connsiteX188" fmla="*/ 1022350 w 4570627"/>
                <a:gd name="connsiteY188" fmla="*/ 50800 h 4998172"/>
                <a:gd name="connsiteX189" fmla="*/ 1022350 w 4570627"/>
                <a:gd name="connsiteY189" fmla="*/ 50801 h 4998172"/>
                <a:gd name="connsiteX190" fmla="*/ 984250 w 4570627"/>
                <a:gd name="connsiteY190" fmla="*/ 1 h 4998172"/>
                <a:gd name="connsiteX191" fmla="*/ 908051 w 4570627"/>
                <a:gd name="connsiteY191" fmla="*/ 6351 h 4998172"/>
                <a:gd name="connsiteX192" fmla="*/ 908050 w 4570627"/>
                <a:gd name="connsiteY192" fmla="*/ 6350 h 4998172"/>
                <a:gd name="connsiteX193" fmla="*/ 984250 w 4570627"/>
                <a:gd name="connsiteY193" fmla="*/ 0 h 4998172"/>
                <a:gd name="connsiteX194" fmla="*/ 3130550 w 4570627"/>
                <a:gd name="connsiteY194" fmla="*/ 12702 h 4998172"/>
                <a:gd name="connsiteX195" fmla="*/ 3130550 w 4570627"/>
                <a:gd name="connsiteY195" fmla="*/ 12701 h 4998172"/>
                <a:gd name="connsiteX196" fmla="*/ 3130550 w 4570627"/>
                <a:gd name="connsiteY196" fmla="*/ 12702 h 4998172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2749550 w 4570627"/>
                <a:gd name="connsiteY5" fmla="*/ 196852 h 4998172"/>
                <a:gd name="connsiteX6" fmla="*/ 2749551 w 4570627"/>
                <a:gd name="connsiteY6" fmla="*/ 196852 h 4998172"/>
                <a:gd name="connsiteX7" fmla="*/ 2787650 w 4570627"/>
                <a:gd name="connsiteY7" fmla="*/ 241301 h 4998172"/>
                <a:gd name="connsiteX8" fmla="*/ 2844800 w 4570627"/>
                <a:gd name="connsiteY8" fmla="*/ 279401 h 4998172"/>
                <a:gd name="connsiteX9" fmla="*/ 2844800 w 4570627"/>
                <a:gd name="connsiteY9" fmla="*/ 279402 h 4998172"/>
                <a:gd name="connsiteX10" fmla="*/ 2787650 w 4570627"/>
                <a:gd name="connsiteY10" fmla="*/ 241302 h 4998172"/>
                <a:gd name="connsiteX11" fmla="*/ 2749550 w 4570627"/>
                <a:gd name="connsiteY11" fmla="*/ 196852 h 4998172"/>
                <a:gd name="connsiteX12" fmla="*/ 1060450 w 4570627"/>
                <a:gd name="connsiteY12" fmla="*/ 177800 h 4998172"/>
                <a:gd name="connsiteX13" fmla="*/ 1149350 w 4570627"/>
                <a:gd name="connsiteY13" fmla="*/ 215900 h 4998172"/>
                <a:gd name="connsiteX14" fmla="*/ 1263650 w 4570627"/>
                <a:gd name="connsiteY14" fmla="*/ 292100 h 4998172"/>
                <a:gd name="connsiteX15" fmla="*/ 1320800 w 4570627"/>
                <a:gd name="connsiteY15" fmla="*/ 412750 h 4998172"/>
                <a:gd name="connsiteX16" fmla="*/ 1371600 w 4570627"/>
                <a:gd name="connsiteY16" fmla="*/ 393700 h 4998172"/>
                <a:gd name="connsiteX17" fmla="*/ 1479550 w 4570627"/>
                <a:gd name="connsiteY17" fmla="*/ 501650 h 4998172"/>
                <a:gd name="connsiteX18" fmla="*/ 1530350 w 4570627"/>
                <a:gd name="connsiteY18" fmla="*/ 666750 h 4998172"/>
                <a:gd name="connsiteX19" fmla="*/ 1612900 w 4570627"/>
                <a:gd name="connsiteY19" fmla="*/ 711200 h 4998172"/>
                <a:gd name="connsiteX20" fmla="*/ 1638300 w 4570627"/>
                <a:gd name="connsiteY20" fmla="*/ 641350 h 4998172"/>
                <a:gd name="connsiteX21" fmla="*/ 1739900 w 4570627"/>
                <a:gd name="connsiteY21" fmla="*/ 647700 h 4998172"/>
                <a:gd name="connsiteX22" fmla="*/ 1746250 w 4570627"/>
                <a:gd name="connsiteY22" fmla="*/ 596900 h 4998172"/>
                <a:gd name="connsiteX23" fmla="*/ 1689100 w 4570627"/>
                <a:gd name="connsiteY23" fmla="*/ 565150 h 4998172"/>
                <a:gd name="connsiteX24" fmla="*/ 1638300 w 4570627"/>
                <a:gd name="connsiteY24" fmla="*/ 520700 h 4998172"/>
                <a:gd name="connsiteX25" fmla="*/ 1625600 w 4570627"/>
                <a:gd name="connsiteY25" fmla="*/ 469900 h 4998172"/>
                <a:gd name="connsiteX26" fmla="*/ 1778000 w 4570627"/>
                <a:gd name="connsiteY26" fmla="*/ 412750 h 4998172"/>
                <a:gd name="connsiteX27" fmla="*/ 1879600 w 4570627"/>
                <a:gd name="connsiteY27" fmla="*/ 425450 h 4998172"/>
                <a:gd name="connsiteX28" fmla="*/ 1873250 w 4570627"/>
                <a:gd name="connsiteY28" fmla="*/ 488950 h 4998172"/>
                <a:gd name="connsiteX29" fmla="*/ 1981200 w 4570627"/>
                <a:gd name="connsiteY29" fmla="*/ 482600 h 4998172"/>
                <a:gd name="connsiteX30" fmla="*/ 2006600 w 4570627"/>
                <a:gd name="connsiteY30" fmla="*/ 482600 h 4998172"/>
                <a:gd name="connsiteX31" fmla="*/ 2032000 w 4570627"/>
                <a:gd name="connsiteY31" fmla="*/ 584200 h 4998172"/>
                <a:gd name="connsiteX32" fmla="*/ 2133600 w 4570627"/>
                <a:gd name="connsiteY32" fmla="*/ 596900 h 4998172"/>
                <a:gd name="connsiteX33" fmla="*/ 2171700 w 4570627"/>
                <a:gd name="connsiteY33" fmla="*/ 463550 h 4998172"/>
                <a:gd name="connsiteX34" fmla="*/ 2146300 w 4570627"/>
                <a:gd name="connsiteY34" fmla="*/ 323850 h 4998172"/>
                <a:gd name="connsiteX35" fmla="*/ 2216150 w 4570627"/>
                <a:gd name="connsiteY35" fmla="*/ 241300 h 4998172"/>
                <a:gd name="connsiteX36" fmla="*/ 2279650 w 4570627"/>
                <a:gd name="connsiteY36" fmla="*/ 234950 h 4998172"/>
                <a:gd name="connsiteX37" fmla="*/ 2305050 w 4570627"/>
                <a:gd name="connsiteY37" fmla="*/ 330200 h 4998172"/>
                <a:gd name="connsiteX38" fmla="*/ 2374900 w 4570627"/>
                <a:gd name="connsiteY38" fmla="*/ 393700 h 4998172"/>
                <a:gd name="connsiteX39" fmla="*/ 2381250 w 4570627"/>
                <a:gd name="connsiteY39" fmla="*/ 457200 h 4998172"/>
                <a:gd name="connsiteX40" fmla="*/ 2514600 w 4570627"/>
                <a:gd name="connsiteY40" fmla="*/ 406400 h 4998172"/>
                <a:gd name="connsiteX41" fmla="*/ 2641600 w 4570627"/>
                <a:gd name="connsiteY41" fmla="*/ 381000 h 4998172"/>
                <a:gd name="connsiteX42" fmla="*/ 2686050 w 4570627"/>
                <a:gd name="connsiteY42" fmla="*/ 419100 h 4998172"/>
                <a:gd name="connsiteX43" fmla="*/ 2774950 w 4570627"/>
                <a:gd name="connsiteY43" fmla="*/ 368300 h 4998172"/>
                <a:gd name="connsiteX44" fmla="*/ 2796953 w 4570627"/>
                <a:gd name="connsiteY44" fmla="*/ 370396 h 4998172"/>
                <a:gd name="connsiteX45" fmla="*/ 2787650 w 4570627"/>
                <a:gd name="connsiteY45" fmla="*/ 349252 h 4998172"/>
                <a:gd name="connsiteX46" fmla="*/ 2857500 w 4570627"/>
                <a:gd name="connsiteY46" fmla="*/ 508001 h 4998172"/>
                <a:gd name="connsiteX47" fmla="*/ 2971800 w 4570627"/>
                <a:gd name="connsiteY47" fmla="*/ 533401 h 4998172"/>
                <a:gd name="connsiteX48" fmla="*/ 3054350 w 4570627"/>
                <a:gd name="connsiteY48" fmla="*/ 552451 h 4998172"/>
                <a:gd name="connsiteX49" fmla="*/ 3093057 w 4570627"/>
                <a:gd name="connsiteY49" fmla="*/ 707281 h 4998172"/>
                <a:gd name="connsiteX50" fmla="*/ 3011086 w 4570627"/>
                <a:gd name="connsiteY50" fmla="*/ 588423 h 4998172"/>
                <a:gd name="connsiteX51" fmla="*/ 2924805 w 4570627"/>
                <a:gd name="connsiteY51" fmla="*/ 674704 h 4998172"/>
                <a:gd name="connsiteX52" fmla="*/ 3026774 w 4570627"/>
                <a:gd name="connsiteY52" fmla="*/ 784516 h 4998172"/>
                <a:gd name="connsiteX53" fmla="*/ 3050305 w 4570627"/>
                <a:gd name="connsiteY53" fmla="*/ 957078 h 4998172"/>
                <a:gd name="connsiteX54" fmla="*/ 3348367 w 4570627"/>
                <a:gd name="connsiteY54" fmla="*/ 1129641 h 4998172"/>
                <a:gd name="connsiteX55" fmla="*/ 3411117 w 4570627"/>
                <a:gd name="connsiteY55" fmla="*/ 1239453 h 4998172"/>
                <a:gd name="connsiteX56" fmla="*/ 3262086 w 4570627"/>
                <a:gd name="connsiteY56" fmla="*/ 1419859 h 4998172"/>
                <a:gd name="connsiteX57" fmla="*/ 3395429 w 4570627"/>
                <a:gd name="connsiteY57" fmla="*/ 1663015 h 4998172"/>
                <a:gd name="connsiteX58" fmla="*/ 3489554 w 4570627"/>
                <a:gd name="connsiteY58" fmla="*/ 1945389 h 4998172"/>
                <a:gd name="connsiteX59" fmla="*/ 3638585 w 4570627"/>
                <a:gd name="connsiteY59" fmla="*/ 2110108 h 4998172"/>
                <a:gd name="connsiteX60" fmla="*/ 3756241 w 4570627"/>
                <a:gd name="connsiteY60" fmla="*/ 2015983 h 4998172"/>
                <a:gd name="connsiteX61" fmla="*/ 3905271 w 4570627"/>
                <a:gd name="connsiteY61" fmla="*/ 2259139 h 4998172"/>
                <a:gd name="connsiteX62" fmla="*/ 4007240 w 4570627"/>
                <a:gd name="connsiteY62" fmla="*/ 2376795 h 4998172"/>
                <a:gd name="connsiteX63" fmla="*/ 4124896 w 4570627"/>
                <a:gd name="connsiteY63" fmla="*/ 2376795 h 4998172"/>
                <a:gd name="connsiteX64" fmla="*/ 4328833 w 4570627"/>
                <a:gd name="connsiteY64" fmla="*/ 2659169 h 4998172"/>
                <a:gd name="connsiteX65" fmla="*/ 4446489 w 4570627"/>
                <a:gd name="connsiteY65" fmla="*/ 2643482 h 4998172"/>
                <a:gd name="connsiteX66" fmla="*/ 4564145 w 4570627"/>
                <a:gd name="connsiteY66" fmla="*/ 2768982 h 4998172"/>
                <a:gd name="connsiteX67" fmla="*/ 4570627 w 4570627"/>
                <a:gd name="connsiteY67" fmla="*/ 2778982 h 4998172"/>
                <a:gd name="connsiteX68" fmla="*/ 4493946 w 4570627"/>
                <a:gd name="connsiteY68" fmla="*/ 3147050 h 4998172"/>
                <a:gd name="connsiteX69" fmla="*/ 4274322 w 4570627"/>
                <a:gd name="connsiteY69" fmla="*/ 3162737 h 4998172"/>
                <a:gd name="connsiteX70" fmla="*/ 4180197 w 4570627"/>
                <a:gd name="connsiteY70" fmla="*/ 3492174 h 4998172"/>
                <a:gd name="connsiteX71" fmla="*/ 3819386 w 4570627"/>
                <a:gd name="connsiteY71" fmla="*/ 3617674 h 4998172"/>
                <a:gd name="connsiteX72" fmla="*/ 3552699 w 4570627"/>
                <a:gd name="connsiteY72" fmla="*/ 3774549 h 4998172"/>
                <a:gd name="connsiteX73" fmla="*/ 3552699 w 4570627"/>
                <a:gd name="connsiteY73" fmla="*/ 3884361 h 4998172"/>
                <a:gd name="connsiteX74" fmla="*/ 3788011 w 4570627"/>
                <a:gd name="connsiteY74" fmla="*/ 4088298 h 4998172"/>
                <a:gd name="connsiteX75" fmla="*/ 3772323 w 4570627"/>
                <a:gd name="connsiteY75" fmla="*/ 4307923 h 4998172"/>
                <a:gd name="connsiteX76" fmla="*/ 3866448 w 4570627"/>
                <a:gd name="connsiteY76" fmla="*/ 4417735 h 4998172"/>
                <a:gd name="connsiteX77" fmla="*/ 3897823 w 4570627"/>
                <a:gd name="connsiteY77" fmla="*/ 4653048 h 4998172"/>
                <a:gd name="connsiteX78" fmla="*/ 3819386 w 4570627"/>
                <a:gd name="connsiteY78" fmla="*/ 4762860 h 4998172"/>
                <a:gd name="connsiteX79" fmla="*/ 3662511 w 4570627"/>
                <a:gd name="connsiteY79" fmla="*/ 4684422 h 4998172"/>
                <a:gd name="connsiteX80" fmla="*/ 3615449 w 4570627"/>
                <a:gd name="connsiteY80" fmla="*/ 4605985 h 4998172"/>
                <a:gd name="connsiteX81" fmla="*/ 3615449 w 4570627"/>
                <a:gd name="connsiteY81" fmla="*/ 4464798 h 4998172"/>
                <a:gd name="connsiteX82" fmla="*/ 3458574 w 4570627"/>
                <a:gd name="connsiteY82" fmla="*/ 4402048 h 4998172"/>
                <a:gd name="connsiteX83" fmla="*/ 3395824 w 4570627"/>
                <a:gd name="connsiteY83" fmla="*/ 4527548 h 4998172"/>
                <a:gd name="connsiteX84" fmla="*/ 3160513 w 4570627"/>
                <a:gd name="connsiteY84" fmla="*/ 4449110 h 4998172"/>
                <a:gd name="connsiteX85" fmla="*/ 3144825 w 4570627"/>
                <a:gd name="connsiteY85" fmla="*/ 4386360 h 4998172"/>
                <a:gd name="connsiteX86" fmla="*/ 2940888 w 4570627"/>
                <a:gd name="connsiteY86" fmla="*/ 4464798 h 4998172"/>
                <a:gd name="connsiteX87" fmla="*/ 2831076 w 4570627"/>
                <a:gd name="connsiteY87" fmla="*/ 4574610 h 4998172"/>
                <a:gd name="connsiteX88" fmla="*/ 2564389 w 4570627"/>
                <a:gd name="connsiteY88" fmla="*/ 4605985 h 4998172"/>
                <a:gd name="connsiteX89" fmla="*/ 2329077 w 4570627"/>
                <a:gd name="connsiteY89" fmla="*/ 4621673 h 4998172"/>
                <a:gd name="connsiteX90" fmla="*/ 2125140 w 4570627"/>
                <a:gd name="connsiteY90" fmla="*/ 4809922 h 4998172"/>
                <a:gd name="connsiteX91" fmla="*/ 1936891 w 4570627"/>
                <a:gd name="connsiteY91" fmla="*/ 4856985 h 4998172"/>
                <a:gd name="connsiteX92" fmla="*/ 1717266 w 4570627"/>
                <a:gd name="connsiteY92" fmla="*/ 4747172 h 4998172"/>
                <a:gd name="connsiteX93" fmla="*/ 1701579 w 4570627"/>
                <a:gd name="connsiteY93" fmla="*/ 4621673 h 4998172"/>
                <a:gd name="connsiteX94" fmla="*/ 1576079 w 4570627"/>
                <a:gd name="connsiteY94" fmla="*/ 4574610 h 4998172"/>
                <a:gd name="connsiteX95" fmla="*/ 1419205 w 4570627"/>
                <a:gd name="connsiteY95" fmla="*/ 4574610 h 4998172"/>
                <a:gd name="connsiteX96" fmla="*/ 1340768 w 4570627"/>
                <a:gd name="connsiteY96" fmla="*/ 4668735 h 4998172"/>
                <a:gd name="connsiteX97" fmla="*/ 1309393 w 4570627"/>
                <a:gd name="connsiteY97" fmla="*/ 4825610 h 4998172"/>
                <a:gd name="connsiteX98" fmla="*/ 1246643 w 4570627"/>
                <a:gd name="connsiteY98" fmla="*/ 4919735 h 4998172"/>
                <a:gd name="connsiteX99" fmla="*/ 1152518 w 4570627"/>
                <a:gd name="connsiteY99" fmla="*/ 4998172 h 4998172"/>
                <a:gd name="connsiteX100" fmla="*/ 964268 w 4570627"/>
                <a:gd name="connsiteY100" fmla="*/ 4951110 h 4998172"/>
                <a:gd name="connsiteX101" fmla="*/ 948581 w 4570627"/>
                <a:gd name="connsiteY101" fmla="*/ 4684422 h 4998172"/>
                <a:gd name="connsiteX102" fmla="*/ 807394 w 4570627"/>
                <a:gd name="connsiteY102" fmla="*/ 4590298 h 4998172"/>
                <a:gd name="connsiteX103" fmla="*/ 773692 w 4570627"/>
                <a:gd name="connsiteY103" fmla="*/ 4590298 h 4998172"/>
                <a:gd name="connsiteX104" fmla="*/ 802640 w 4570627"/>
                <a:gd name="connsiteY104" fmla="*/ 4538980 h 4998172"/>
                <a:gd name="connsiteX105" fmla="*/ 894080 w 4570627"/>
                <a:gd name="connsiteY105" fmla="*/ 4439920 h 4998172"/>
                <a:gd name="connsiteX106" fmla="*/ 1122680 w 4570627"/>
                <a:gd name="connsiteY106" fmla="*/ 4470400 h 4998172"/>
                <a:gd name="connsiteX107" fmla="*/ 1168400 w 4570627"/>
                <a:gd name="connsiteY107" fmla="*/ 4401820 h 4998172"/>
                <a:gd name="connsiteX108" fmla="*/ 1122680 w 4570627"/>
                <a:gd name="connsiteY108" fmla="*/ 4272280 h 4998172"/>
                <a:gd name="connsiteX109" fmla="*/ 1160780 w 4570627"/>
                <a:gd name="connsiteY109" fmla="*/ 4218940 h 4998172"/>
                <a:gd name="connsiteX110" fmla="*/ 1130300 w 4570627"/>
                <a:gd name="connsiteY110" fmla="*/ 4127500 h 4998172"/>
                <a:gd name="connsiteX111" fmla="*/ 1160780 w 4570627"/>
                <a:gd name="connsiteY111" fmla="*/ 3807460 h 4998172"/>
                <a:gd name="connsiteX112" fmla="*/ 1038860 w 4570627"/>
                <a:gd name="connsiteY112" fmla="*/ 3395980 h 4998172"/>
                <a:gd name="connsiteX113" fmla="*/ 1130300 w 4570627"/>
                <a:gd name="connsiteY113" fmla="*/ 3235960 h 4998172"/>
                <a:gd name="connsiteX114" fmla="*/ 1183640 w 4570627"/>
                <a:gd name="connsiteY114" fmla="*/ 3274060 h 4998172"/>
                <a:gd name="connsiteX115" fmla="*/ 1336040 w 4570627"/>
                <a:gd name="connsiteY115" fmla="*/ 3175000 h 4998172"/>
                <a:gd name="connsiteX116" fmla="*/ 1351280 w 4570627"/>
                <a:gd name="connsiteY116" fmla="*/ 3045460 h 4998172"/>
                <a:gd name="connsiteX117" fmla="*/ 1290320 w 4570627"/>
                <a:gd name="connsiteY117" fmla="*/ 2969260 h 4998172"/>
                <a:gd name="connsiteX118" fmla="*/ 1290320 w 4570627"/>
                <a:gd name="connsiteY118" fmla="*/ 2923540 h 4998172"/>
                <a:gd name="connsiteX119" fmla="*/ 1366520 w 4570627"/>
                <a:gd name="connsiteY119" fmla="*/ 2923540 h 4998172"/>
                <a:gd name="connsiteX120" fmla="*/ 1389380 w 4570627"/>
                <a:gd name="connsiteY120" fmla="*/ 2969260 h 4998172"/>
                <a:gd name="connsiteX121" fmla="*/ 1518920 w 4570627"/>
                <a:gd name="connsiteY121" fmla="*/ 2938780 h 4998172"/>
                <a:gd name="connsiteX122" fmla="*/ 1503680 w 4570627"/>
                <a:gd name="connsiteY122" fmla="*/ 2847340 h 4998172"/>
                <a:gd name="connsiteX123" fmla="*/ 1450340 w 4570627"/>
                <a:gd name="connsiteY123" fmla="*/ 2786380 h 4998172"/>
                <a:gd name="connsiteX124" fmla="*/ 1488440 w 4570627"/>
                <a:gd name="connsiteY124" fmla="*/ 2573020 h 4998172"/>
                <a:gd name="connsiteX125" fmla="*/ 1389380 w 4570627"/>
                <a:gd name="connsiteY125" fmla="*/ 2420620 h 4998172"/>
                <a:gd name="connsiteX126" fmla="*/ 1297940 w 4570627"/>
                <a:gd name="connsiteY126" fmla="*/ 2405380 h 4998172"/>
                <a:gd name="connsiteX127" fmla="*/ 1244600 w 4570627"/>
                <a:gd name="connsiteY127" fmla="*/ 2306320 h 4998172"/>
                <a:gd name="connsiteX128" fmla="*/ 1282700 w 4570627"/>
                <a:gd name="connsiteY128" fmla="*/ 2252980 h 4998172"/>
                <a:gd name="connsiteX129" fmla="*/ 1183640 w 4570627"/>
                <a:gd name="connsiteY129" fmla="*/ 2146300 h 4998172"/>
                <a:gd name="connsiteX130" fmla="*/ 1168400 w 4570627"/>
                <a:gd name="connsiteY130" fmla="*/ 2047240 h 4998172"/>
                <a:gd name="connsiteX131" fmla="*/ 1183640 w 4570627"/>
                <a:gd name="connsiteY131" fmla="*/ 2016760 h 4998172"/>
                <a:gd name="connsiteX132" fmla="*/ 1153160 w 4570627"/>
                <a:gd name="connsiteY132" fmla="*/ 1887220 h 4998172"/>
                <a:gd name="connsiteX133" fmla="*/ 1176020 w 4570627"/>
                <a:gd name="connsiteY133" fmla="*/ 1871980 h 4998172"/>
                <a:gd name="connsiteX134" fmla="*/ 1145540 w 4570627"/>
                <a:gd name="connsiteY134" fmla="*/ 1658620 h 4998172"/>
                <a:gd name="connsiteX135" fmla="*/ 1099820 w 4570627"/>
                <a:gd name="connsiteY135" fmla="*/ 1620520 h 4998172"/>
                <a:gd name="connsiteX136" fmla="*/ 1076960 w 4570627"/>
                <a:gd name="connsiteY136" fmla="*/ 1643380 h 4998172"/>
                <a:gd name="connsiteX137" fmla="*/ 1069340 w 4570627"/>
                <a:gd name="connsiteY137" fmla="*/ 1711960 h 4998172"/>
                <a:gd name="connsiteX138" fmla="*/ 970280 w 4570627"/>
                <a:gd name="connsiteY138" fmla="*/ 1719580 h 4998172"/>
                <a:gd name="connsiteX139" fmla="*/ 932180 w 4570627"/>
                <a:gd name="connsiteY139" fmla="*/ 1574800 h 4998172"/>
                <a:gd name="connsiteX140" fmla="*/ 871220 w 4570627"/>
                <a:gd name="connsiteY140" fmla="*/ 1620520 h 4998172"/>
                <a:gd name="connsiteX141" fmla="*/ 855980 w 4570627"/>
                <a:gd name="connsiteY141" fmla="*/ 1574800 h 4998172"/>
                <a:gd name="connsiteX142" fmla="*/ 924560 w 4570627"/>
                <a:gd name="connsiteY142" fmla="*/ 1513840 h 4998172"/>
                <a:gd name="connsiteX143" fmla="*/ 855980 w 4570627"/>
                <a:gd name="connsiteY143" fmla="*/ 1384300 h 4998172"/>
                <a:gd name="connsiteX144" fmla="*/ 825500 w 4570627"/>
                <a:gd name="connsiteY144" fmla="*/ 1330960 h 4998172"/>
                <a:gd name="connsiteX145" fmla="*/ 787400 w 4570627"/>
                <a:gd name="connsiteY145" fmla="*/ 1430020 h 4998172"/>
                <a:gd name="connsiteX146" fmla="*/ 772160 w 4570627"/>
                <a:gd name="connsiteY146" fmla="*/ 1369060 h 4998172"/>
                <a:gd name="connsiteX147" fmla="*/ 688340 w 4570627"/>
                <a:gd name="connsiteY147" fmla="*/ 1422400 h 4998172"/>
                <a:gd name="connsiteX148" fmla="*/ 695960 w 4570627"/>
                <a:gd name="connsiteY148" fmla="*/ 1277620 h 4998172"/>
                <a:gd name="connsiteX149" fmla="*/ 497840 w 4570627"/>
                <a:gd name="connsiteY149" fmla="*/ 1262380 h 4998172"/>
                <a:gd name="connsiteX150" fmla="*/ 353060 w 4570627"/>
                <a:gd name="connsiteY150" fmla="*/ 1315720 h 4998172"/>
                <a:gd name="connsiteX151" fmla="*/ 467360 w 4570627"/>
                <a:gd name="connsiteY151" fmla="*/ 1376680 h 4998172"/>
                <a:gd name="connsiteX152" fmla="*/ 474980 w 4570627"/>
                <a:gd name="connsiteY152" fmla="*/ 1452880 h 4998172"/>
                <a:gd name="connsiteX153" fmla="*/ 391160 w 4570627"/>
                <a:gd name="connsiteY153" fmla="*/ 1452880 h 4998172"/>
                <a:gd name="connsiteX154" fmla="*/ 360680 w 4570627"/>
                <a:gd name="connsiteY154" fmla="*/ 1551940 h 4998172"/>
                <a:gd name="connsiteX155" fmla="*/ 132080 w 4570627"/>
                <a:gd name="connsiteY155" fmla="*/ 1567180 h 4998172"/>
                <a:gd name="connsiteX156" fmla="*/ 69850 w 4570627"/>
                <a:gd name="connsiteY156" fmla="*/ 1533991 h 4998172"/>
                <a:gd name="connsiteX157" fmla="*/ 69850 w 4570627"/>
                <a:gd name="connsiteY157" fmla="*/ 1435100 h 4998172"/>
                <a:gd name="connsiteX158" fmla="*/ 146050 w 4570627"/>
                <a:gd name="connsiteY158" fmla="*/ 1295400 h 4998172"/>
                <a:gd name="connsiteX159" fmla="*/ 82550 w 4570627"/>
                <a:gd name="connsiteY159" fmla="*/ 1193800 h 4998172"/>
                <a:gd name="connsiteX160" fmla="*/ 25400 w 4570627"/>
                <a:gd name="connsiteY160" fmla="*/ 1168400 h 4998172"/>
                <a:gd name="connsiteX161" fmla="*/ 31750 w 4570627"/>
                <a:gd name="connsiteY161" fmla="*/ 952500 h 4998172"/>
                <a:gd name="connsiteX162" fmla="*/ 0 w 4570627"/>
                <a:gd name="connsiteY162" fmla="*/ 876300 h 4998172"/>
                <a:gd name="connsiteX163" fmla="*/ 0 w 4570627"/>
                <a:gd name="connsiteY163" fmla="*/ 774700 h 4998172"/>
                <a:gd name="connsiteX164" fmla="*/ 107950 w 4570627"/>
                <a:gd name="connsiteY164" fmla="*/ 755650 h 4998172"/>
                <a:gd name="connsiteX165" fmla="*/ 127000 w 4570627"/>
                <a:gd name="connsiteY165" fmla="*/ 806450 h 4998172"/>
                <a:gd name="connsiteX166" fmla="*/ 215900 w 4570627"/>
                <a:gd name="connsiteY166" fmla="*/ 749300 h 4998172"/>
                <a:gd name="connsiteX167" fmla="*/ 368300 w 4570627"/>
                <a:gd name="connsiteY167" fmla="*/ 749300 h 4998172"/>
                <a:gd name="connsiteX168" fmla="*/ 368300 w 4570627"/>
                <a:gd name="connsiteY168" fmla="*/ 800100 h 4998172"/>
                <a:gd name="connsiteX169" fmla="*/ 495300 w 4570627"/>
                <a:gd name="connsiteY169" fmla="*/ 800100 h 4998172"/>
                <a:gd name="connsiteX170" fmla="*/ 488950 w 4570627"/>
                <a:gd name="connsiteY170" fmla="*/ 711200 h 4998172"/>
                <a:gd name="connsiteX171" fmla="*/ 488950 w 4570627"/>
                <a:gd name="connsiteY171" fmla="*/ 603250 h 4998172"/>
                <a:gd name="connsiteX172" fmla="*/ 596900 w 4570627"/>
                <a:gd name="connsiteY172" fmla="*/ 615950 h 4998172"/>
                <a:gd name="connsiteX173" fmla="*/ 679450 w 4570627"/>
                <a:gd name="connsiteY173" fmla="*/ 514350 h 4998172"/>
                <a:gd name="connsiteX174" fmla="*/ 717550 w 4570627"/>
                <a:gd name="connsiteY174" fmla="*/ 311150 h 4998172"/>
                <a:gd name="connsiteX175" fmla="*/ 812800 w 4570627"/>
                <a:gd name="connsiteY175" fmla="*/ 361950 h 4998172"/>
                <a:gd name="connsiteX176" fmla="*/ 952500 w 4570627"/>
                <a:gd name="connsiteY176" fmla="*/ 266700 h 4998172"/>
                <a:gd name="connsiteX177" fmla="*/ 979517 w 4570627"/>
                <a:gd name="connsiteY177" fmla="*/ 226177 h 4998172"/>
                <a:gd name="connsiteX178" fmla="*/ 977900 w 4570627"/>
                <a:gd name="connsiteY178" fmla="*/ 273050 h 4998172"/>
                <a:gd name="connsiteX179" fmla="*/ 1060450 w 4570627"/>
                <a:gd name="connsiteY179" fmla="*/ 177800 h 4998172"/>
                <a:gd name="connsiteX180" fmla="*/ 812800 w 4570627"/>
                <a:gd name="connsiteY180" fmla="*/ 12701 h 4998172"/>
                <a:gd name="connsiteX181" fmla="*/ 812801 w 4570627"/>
                <a:gd name="connsiteY181" fmla="*/ 12701 h 4998172"/>
                <a:gd name="connsiteX182" fmla="*/ 869950 w 4570627"/>
                <a:gd name="connsiteY182" fmla="*/ 69850 h 4998172"/>
                <a:gd name="connsiteX183" fmla="*/ 920750 w 4570627"/>
                <a:gd name="connsiteY183" fmla="*/ 57150 h 4998172"/>
                <a:gd name="connsiteX184" fmla="*/ 920750 w 4570627"/>
                <a:gd name="connsiteY184" fmla="*/ 57151 h 4998172"/>
                <a:gd name="connsiteX185" fmla="*/ 869950 w 4570627"/>
                <a:gd name="connsiteY185" fmla="*/ 69851 h 4998172"/>
                <a:gd name="connsiteX186" fmla="*/ 812800 w 4570627"/>
                <a:gd name="connsiteY186" fmla="*/ 12701 h 4998172"/>
                <a:gd name="connsiteX187" fmla="*/ 984250 w 4570627"/>
                <a:gd name="connsiteY187" fmla="*/ 0 h 4998172"/>
                <a:gd name="connsiteX188" fmla="*/ 1022350 w 4570627"/>
                <a:gd name="connsiteY188" fmla="*/ 50800 h 4998172"/>
                <a:gd name="connsiteX189" fmla="*/ 1022350 w 4570627"/>
                <a:gd name="connsiteY189" fmla="*/ 50801 h 4998172"/>
                <a:gd name="connsiteX190" fmla="*/ 984250 w 4570627"/>
                <a:gd name="connsiteY190" fmla="*/ 1 h 4998172"/>
                <a:gd name="connsiteX191" fmla="*/ 908051 w 4570627"/>
                <a:gd name="connsiteY191" fmla="*/ 6351 h 4998172"/>
                <a:gd name="connsiteX192" fmla="*/ 908050 w 4570627"/>
                <a:gd name="connsiteY192" fmla="*/ 6350 h 4998172"/>
                <a:gd name="connsiteX193" fmla="*/ 984250 w 4570627"/>
                <a:gd name="connsiteY193" fmla="*/ 0 h 4998172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2787650 w 4570627"/>
                <a:gd name="connsiteY5" fmla="*/ 241302 h 4998172"/>
                <a:gd name="connsiteX6" fmla="*/ 2749551 w 4570627"/>
                <a:gd name="connsiteY6" fmla="*/ 196852 h 4998172"/>
                <a:gd name="connsiteX7" fmla="*/ 2787650 w 4570627"/>
                <a:gd name="connsiteY7" fmla="*/ 241301 h 4998172"/>
                <a:gd name="connsiteX8" fmla="*/ 2844800 w 4570627"/>
                <a:gd name="connsiteY8" fmla="*/ 279401 h 4998172"/>
                <a:gd name="connsiteX9" fmla="*/ 2844800 w 4570627"/>
                <a:gd name="connsiteY9" fmla="*/ 279402 h 4998172"/>
                <a:gd name="connsiteX10" fmla="*/ 2787650 w 4570627"/>
                <a:gd name="connsiteY10" fmla="*/ 241302 h 4998172"/>
                <a:gd name="connsiteX11" fmla="*/ 1060450 w 4570627"/>
                <a:gd name="connsiteY11" fmla="*/ 177800 h 4998172"/>
                <a:gd name="connsiteX12" fmla="*/ 1149350 w 4570627"/>
                <a:gd name="connsiteY12" fmla="*/ 215900 h 4998172"/>
                <a:gd name="connsiteX13" fmla="*/ 1263650 w 4570627"/>
                <a:gd name="connsiteY13" fmla="*/ 292100 h 4998172"/>
                <a:gd name="connsiteX14" fmla="*/ 1320800 w 4570627"/>
                <a:gd name="connsiteY14" fmla="*/ 412750 h 4998172"/>
                <a:gd name="connsiteX15" fmla="*/ 1371600 w 4570627"/>
                <a:gd name="connsiteY15" fmla="*/ 393700 h 4998172"/>
                <a:gd name="connsiteX16" fmla="*/ 1479550 w 4570627"/>
                <a:gd name="connsiteY16" fmla="*/ 501650 h 4998172"/>
                <a:gd name="connsiteX17" fmla="*/ 1530350 w 4570627"/>
                <a:gd name="connsiteY17" fmla="*/ 666750 h 4998172"/>
                <a:gd name="connsiteX18" fmla="*/ 1612900 w 4570627"/>
                <a:gd name="connsiteY18" fmla="*/ 711200 h 4998172"/>
                <a:gd name="connsiteX19" fmla="*/ 1638300 w 4570627"/>
                <a:gd name="connsiteY19" fmla="*/ 641350 h 4998172"/>
                <a:gd name="connsiteX20" fmla="*/ 1739900 w 4570627"/>
                <a:gd name="connsiteY20" fmla="*/ 647700 h 4998172"/>
                <a:gd name="connsiteX21" fmla="*/ 1746250 w 4570627"/>
                <a:gd name="connsiteY21" fmla="*/ 596900 h 4998172"/>
                <a:gd name="connsiteX22" fmla="*/ 1689100 w 4570627"/>
                <a:gd name="connsiteY22" fmla="*/ 565150 h 4998172"/>
                <a:gd name="connsiteX23" fmla="*/ 1638300 w 4570627"/>
                <a:gd name="connsiteY23" fmla="*/ 520700 h 4998172"/>
                <a:gd name="connsiteX24" fmla="*/ 1625600 w 4570627"/>
                <a:gd name="connsiteY24" fmla="*/ 469900 h 4998172"/>
                <a:gd name="connsiteX25" fmla="*/ 1778000 w 4570627"/>
                <a:gd name="connsiteY25" fmla="*/ 412750 h 4998172"/>
                <a:gd name="connsiteX26" fmla="*/ 1879600 w 4570627"/>
                <a:gd name="connsiteY26" fmla="*/ 425450 h 4998172"/>
                <a:gd name="connsiteX27" fmla="*/ 1873250 w 4570627"/>
                <a:gd name="connsiteY27" fmla="*/ 488950 h 4998172"/>
                <a:gd name="connsiteX28" fmla="*/ 1981200 w 4570627"/>
                <a:gd name="connsiteY28" fmla="*/ 482600 h 4998172"/>
                <a:gd name="connsiteX29" fmla="*/ 2006600 w 4570627"/>
                <a:gd name="connsiteY29" fmla="*/ 482600 h 4998172"/>
                <a:gd name="connsiteX30" fmla="*/ 2032000 w 4570627"/>
                <a:gd name="connsiteY30" fmla="*/ 584200 h 4998172"/>
                <a:gd name="connsiteX31" fmla="*/ 2133600 w 4570627"/>
                <a:gd name="connsiteY31" fmla="*/ 596900 h 4998172"/>
                <a:gd name="connsiteX32" fmla="*/ 2171700 w 4570627"/>
                <a:gd name="connsiteY32" fmla="*/ 463550 h 4998172"/>
                <a:gd name="connsiteX33" fmla="*/ 2146300 w 4570627"/>
                <a:gd name="connsiteY33" fmla="*/ 323850 h 4998172"/>
                <a:gd name="connsiteX34" fmla="*/ 2216150 w 4570627"/>
                <a:gd name="connsiteY34" fmla="*/ 241300 h 4998172"/>
                <a:gd name="connsiteX35" fmla="*/ 2279650 w 4570627"/>
                <a:gd name="connsiteY35" fmla="*/ 234950 h 4998172"/>
                <a:gd name="connsiteX36" fmla="*/ 2305050 w 4570627"/>
                <a:gd name="connsiteY36" fmla="*/ 330200 h 4998172"/>
                <a:gd name="connsiteX37" fmla="*/ 2374900 w 4570627"/>
                <a:gd name="connsiteY37" fmla="*/ 393700 h 4998172"/>
                <a:gd name="connsiteX38" fmla="*/ 2381250 w 4570627"/>
                <a:gd name="connsiteY38" fmla="*/ 457200 h 4998172"/>
                <a:gd name="connsiteX39" fmla="*/ 2514600 w 4570627"/>
                <a:gd name="connsiteY39" fmla="*/ 406400 h 4998172"/>
                <a:gd name="connsiteX40" fmla="*/ 2641600 w 4570627"/>
                <a:gd name="connsiteY40" fmla="*/ 381000 h 4998172"/>
                <a:gd name="connsiteX41" fmla="*/ 2686050 w 4570627"/>
                <a:gd name="connsiteY41" fmla="*/ 419100 h 4998172"/>
                <a:gd name="connsiteX42" fmla="*/ 2774950 w 4570627"/>
                <a:gd name="connsiteY42" fmla="*/ 368300 h 4998172"/>
                <a:gd name="connsiteX43" fmla="*/ 2796953 w 4570627"/>
                <a:gd name="connsiteY43" fmla="*/ 370396 h 4998172"/>
                <a:gd name="connsiteX44" fmla="*/ 2787650 w 4570627"/>
                <a:gd name="connsiteY44" fmla="*/ 349252 h 4998172"/>
                <a:gd name="connsiteX45" fmla="*/ 2857500 w 4570627"/>
                <a:gd name="connsiteY45" fmla="*/ 508001 h 4998172"/>
                <a:gd name="connsiteX46" fmla="*/ 2971800 w 4570627"/>
                <a:gd name="connsiteY46" fmla="*/ 533401 h 4998172"/>
                <a:gd name="connsiteX47" fmla="*/ 3054350 w 4570627"/>
                <a:gd name="connsiteY47" fmla="*/ 552451 h 4998172"/>
                <a:gd name="connsiteX48" fmla="*/ 3093057 w 4570627"/>
                <a:gd name="connsiteY48" fmla="*/ 707281 h 4998172"/>
                <a:gd name="connsiteX49" fmla="*/ 3011086 w 4570627"/>
                <a:gd name="connsiteY49" fmla="*/ 588423 h 4998172"/>
                <a:gd name="connsiteX50" fmla="*/ 2924805 w 4570627"/>
                <a:gd name="connsiteY50" fmla="*/ 674704 h 4998172"/>
                <a:gd name="connsiteX51" fmla="*/ 3026774 w 4570627"/>
                <a:gd name="connsiteY51" fmla="*/ 784516 h 4998172"/>
                <a:gd name="connsiteX52" fmla="*/ 3050305 w 4570627"/>
                <a:gd name="connsiteY52" fmla="*/ 957078 h 4998172"/>
                <a:gd name="connsiteX53" fmla="*/ 3348367 w 4570627"/>
                <a:gd name="connsiteY53" fmla="*/ 1129641 h 4998172"/>
                <a:gd name="connsiteX54" fmla="*/ 3411117 w 4570627"/>
                <a:gd name="connsiteY54" fmla="*/ 1239453 h 4998172"/>
                <a:gd name="connsiteX55" fmla="*/ 3262086 w 4570627"/>
                <a:gd name="connsiteY55" fmla="*/ 1419859 h 4998172"/>
                <a:gd name="connsiteX56" fmla="*/ 3395429 w 4570627"/>
                <a:gd name="connsiteY56" fmla="*/ 1663015 h 4998172"/>
                <a:gd name="connsiteX57" fmla="*/ 3489554 w 4570627"/>
                <a:gd name="connsiteY57" fmla="*/ 1945389 h 4998172"/>
                <a:gd name="connsiteX58" fmla="*/ 3638585 w 4570627"/>
                <a:gd name="connsiteY58" fmla="*/ 2110108 h 4998172"/>
                <a:gd name="connsiteX59" fmla="*/ 3756241 w 4570627"/>
                <a:gd name="connsiteY59" fmla="*/ 2015983 h 4998172"/>
                <a:gd name="connsiteX60" fmla="*/ 3905271 w 4570627"/>
                <a:gd name="connsiteY60" fmla="*/ 2259139 h 4998172"/>
                <a:gd name="connsiteX61" fmla="*/ 4007240 w 4570627"/>
                <a:gd name="connsiteY61" fmla="*/ 2376795 h 4998172"/>
                <a:gd name="connsiteX62" fmla="*/ 4124896 w 4570627"/>
                <a:gd name="connsiteY62" fmla="*/ 2376795 h 4998172"/>
                <a:gd name="connsiteX63" fmla="*/ 4328833 w 4570627"/>
                <a:gd name="connsiteY63" fmla="*/ 2659169 h 4998172"/>
                <a:gd name="connsiteX64" fmla="*/ 4446489 w 4570627"/>
                <a:gd name="connsiteY64" fmla="*/ 2643482 h 4998172"/>
                <a:gd name="connsiteX65" fmla="*/ 4564145 w 4570627"/>
                <a:gd name="connsiteY65" fmla="*/ 2768982 h 4998172"/>
                <a:gd name="connsiteX66" fmla="*/ 4570627 w 4570627"/>
                <a:gd name="connsiteY66" fmla="*/ 2778982 h 4998172"/>
                <a:gd name="connsiteX67" fmla="*/ 4493946 w 4570627"/>
                <a:gd name="connsiteY67" fmla="*/ 3147050 h 4998172"/>
                <a:gd name="connsiteX68" fmla="*/ 4274322 w 4570627"/>
                <a:gd name="connsiteY68" fmla="*/ 3162737 h 4998172"/>
                <a:gd name="connsiteX69" fmla="*/ 4180197 w 4570627"/>
                <a:gd name="connsiteY69" fmla="*/ 3492174 h 4998172"/>
                <a:gd name="connsiteX70" fmla="*/ 3819386 w 4570627"/>
                <a:gd name="connsiteY70" fmla="*/ 3617674 h 4998172"/>
                <a:gd name="connsiteX71" fmla="*/ 3552699 w 4570627"/>
                <a:gd name="connsiteY71" fmla="*/ 3774549 h 4998172"/>
                <a:gd name="connsiteX72" fmla="*/ 3552699 w 4570627"/>
                <a:gd name="connsiteY72" fmla="*/ 3884361 h 4998172"/>
                <a:gd name="connsiteX73" fmla="*/ 3788011 w 4570627"/>
                <a:gd name="connsiteY73" fmla="*/ 4088298 h 4998172"/>
                <a:gd name="connsiteX74" fmla="*/ 3772323 w 4570627"/>
                <a:gd name="connsiteY74" fmla="*/ 4307923 h 4998172"/>
                <a:gd name="connsiteX75" fmla="*/ 3866448 w 4570627"/>
                <a:gd name="connsiteY75" fmla="*/ 4417735 h 4998172"/>
                <a:gd name="connsiteX76" fmla="*/ 3897823 w 4570627"/>
                <a:gd name="connsiteY76" fmla="*/ 4653048 h 4998172"/>
                <a:gd name="connsiteX77" fmla="*/ 3819386 w 4570627"/>
                <a:gd name="connsiteY77" fmla="*/ 4762860 h 4998172"/>
                <a:gd name="connsiteX78" fmla="*/ 3662511 w 4570627"/>
                <a:gd name="connsiteY78" fmla="*/ 4684422 h 4998172"/>
                <a:gd name="connsiteX79" fmla="*/ 3615449 w 4570627"/>
                <a:gd name="connsiteY79" fmla="*/ 4605985 h 4998172"/>
                <a:gd name="connsiteX80" fmla="*/ 3615449 w 4570627"/>
                <a:gd name="connsiteY80" fmla="*/ 4464798 h 4998172"/>
                <a:gd name="connsiteX81" fmla="*/ 3458574 w 4570627"/>
                <a:gd name="connsiteY81" fmla="*/ 4402048 h 4998172"/>
                <a:gd name="connsiteX82" fmla="*/ 3395824 w 4570627"/>
                <a:gd name="connsiteY82" fmla="*/ 4527548 h 4998172"/>
                <a:gd name="connsiteX83" fmla="*/ 3160513 w 4570627"/>
                <a:gd name="connsiteY83" fmla="*/ 4449110 h 4998172"/>
                <a:gd name="connsiteX84" fmla="*/ 3144825 w 4570627"/>
                <a:gd name="connsiteY84" fmla="*/ 4386360 h 4998172"/>
                <a:gd name="connsiteX85" fmla="*/ 2940888 w 4570627"/>
                <a:gd name="connsiteY85" fmla="*/ 4464798 h 4998172"/>
                <a:gd name="connsiteX86" fmla="*/ 2831076 w 4570627"/>
                <a:gd name="connsiteY86" fmla="*/ 4574610 h 4998172"/>
                <a:gd name="connsiteX87" fmla="*/ 2564389 w 4570627"/>
                <a:gd name="connsiteY87" fmla="*/ 4605985 h 4998172"/>
                <a:gd name="connsiteX88" fmla="*/ 2329077 w 4570627"/>
                <a:gd name="connsiteY88" fmla="*/ 4621673 h 4998172"/>
                <a:gd name="connsiteX89" fmla="*/ 2125140 w 4570627"/>
                <a:gd name="connsiteY89" fmla="*/ 4809922 h 4998172"/>
                <a:gd name="connsiteX90" fmla="*/ 1936891 w 4570627"/>
                <a:gd name="connsiteY90" fmla="*/ 4856985 h 4998172"/>
                <a:gd name="connsiteX91" fmla="*/ 1717266 w 4570627"/>
                <a:gd name="connsiteY91" fmla="*/ 4747172 h 4998172"/>
                <a:gd name="connsiteX92" fmla="*/ 1701579 w 4570627"/>
                <a:gd name="connsiteY92" fmla="*/ 4621673 h 4998172"/>
                <a:gd name="connsiteX93" fmla="*/ 1576079 w 4570627"/>
                <a:gd name="connsiteY93" fmla="*/ 4574610 h 4998172"/>
                <a:gd name="connsiteX94" fmla="*/ 1419205 w 4570627"/>
                <a:gd name="connsiteY94" fmla="*/ 4574610 h 4998172"/>
                <a:gd name="connsiteX95" fmla="*/ 1340768 w 4570627"/>
                <a:gd name="connsiteY95" fmla="*/ 4668735 h 4998172"/>
                <a:gd name="connsiteX96" fmla="*/ 1309393 w 4570627"/>
                <a:gd name="connsiteY96" fmla="*/ 4825610 h 4998172"/>
                <a:gd name="connsiteX97" fmla="*/ 1246643 w 4570627"/>
                <a:gd name="connsiteY97" fmla="*/ 4919735 h 4998172"/>
                <a:gd name="connsiteX98" fmla="*/ 1152518 w 4570627"/>
                <a:gd name="connsiteY98" fmla="*/ 4998172 h 4998172"/>
                <a:gd name="connsiteX99" fmla="*/ 964268 w 4570627"/>
                <a:gd name="connsiteY99" fmla="*/ 4951110 h 4998172"/>
                <a:gd name="connsiteX100" fmla="*/ 948581 w 4570627"/>
                <a:gd name="connsiteY100" fmla="*/ 4684422 h 4998172"/>
                <a:gd name="connsiteX101" fmla="*/ 807394 w 4570627"/>
                <a:gd name="connsiteY101" fmla="*/ 4590298 h 4998172"/>
                <a:gd name="connsiteX102" fmla="*/ 773692 w 4570627"/>
                <a:gd name="connsiteY102" fmla="*/ 4590298 h 4998172"/>
                <a:gd name="connsiteX103" fmla="*/ 802640 w 4570627"/>
                <a:gd name="connsiteY103" fmla="*/ 4538980 h 4998172"/>
                <a:gd name="connsiteX104" fmla="*/ 894080 w 4570627"/>
                <a:gd name="connsiteY104" fmla="*/ 4439920 h 4998172"/>
                <a:gd name="connsiteX105" fmla="*/ 1122680 w 4570627"/>
                <a:gd name="connsiteY105" fmla="*/ 4470400 h 4998172"/>
                <a:gd name="connsiteX106" fmla="*/ 1168400 w 4570627"/>
                <a:gd name="connsiteY106" fmla="*/ 4401820 h 4998172"/>
                <a:gd name="connsiteX107" fmla="*/ 1122680 w 4570627"/>
                <a:gd name="connsiteY107" fmla="*/ 4272280 h 4998172"/>
                <a:gd name="connsiteX108" fmla="*/ 1160780 w 4570627"/>
                <a:gd name="connsiteY108" fmla="*/ 4218940 h 4998172"/>
                <a:gd name="connsiteX109" fmla="*/ 1130300 w 4570627"/>
                <a:gd name="connsiteY109" fmla="*/ 4127500 h 4998172"/>
                <a:gd name="connsiteX110" fmla="*/ 1160780 w 4570627"/>
                <a:gd name="connsiteY110" fmla="*/ 3807460 h 4998172"/>
                <a:gd name="connsiteX111" fmla="*/ 1038860 w 4570627"/>
                <a:gd name="connsiteY111" fmla="*/ 3395980 h 4998172"/>
                <a:gd name="connsiteX112" fmla="*/ 1130300 w 4570627"/>
                <a:gd name="connsiteY112" fmla="*/ 3235960 h 4998172"/>
                <a:gd name="connsiteX113" fmla="*/ 1183640 w 4570627"/>
                <a:gd name="connsiteY113" fmla="*/ 3274060 h 4998172"/>
                <a:gd name="connsiteX114" fmla="*/ 1336040 w 4570627"/>
                <a:gd name="connsiteY114" fmla="*/ 3175000 h 4998172"/>
                <a:gd name="connsiteX115" fmla="*/ 1351280 w 4570627"/>
                <a:gd name="connsiteY115" fmla="*/ 3045460 h 4998172"/>
                <a:gd name="connsiteX116" fmla="*/ 1290320 w 4570627"/>
                <a:gd name="connsiteY116" fmla="*/ 2969260 h 4998172"/>
                <a:gd name="connsiteX117" fmla="*/ 1290320 w 4570627"/>
                <a:gd name="connsiteY117" fmla="*/ 2923540 h 4998172"/>
                <a:gd name="connsiteX118" fmla="*/ 1366520 w 4570627"/>
                <a:gd name="connsiteY118" fmla="*/ 2923540 h 4998172"/>
                <a:gd name="connsiteX119" fmla="*/ 1389380 w 4570627"/>
                <a:gd name="connsiteY119" fmla="*/ 2969260 h 4998172"/>
                <a:gd name="connsiteX120" fmla="*/ 1518920 w 4570627"/>
                <a:gd name="connsiteY120" fmla="*/ 2938780 h 4998172"/>
                <a:gd name="connsiteX121" fmla="*/ 1503680 w 4570627"/>
                <a:gd name="connsiteY121" fmla="*/ 2847340 h 4998172"/>
                <a:gd name="connsiteX122" fmla="*/ 1450340 w 4570627"/>
                <a:gd name="connsiteY122" fmla="*/ 2786380 h 4998172"/>
                <a:gd name="connsiteX123" fmla="*/ 1488440 w 4570627"/>
                <a:gd name="connsiteY123" fmla="*/ 2573020 h 4998172"/>
                <a:gd name="connsiteX124" fmla="*/ 1389380 w 4570627"/>
                <a:gd name="connsiteY124" fmla="*/ 2420620 h 4998172"/>
                <a:gd name="connsiteX125" fmla="*/ 1297940 w 4570627"/>
                <a:gd name="connsiteY125" fmla="*/ 2405380 h 4998172"/>
                <a:gd name="connsiteX126" fmla="*/ 1244600 w 4570627"/>
                <a:gd name="connsiteY126" fmla="*/ 2306320 h 4998172"/>
                <a:gd name="connsiteX127" fmla="*/ 1282700 w 4570627"/>
                <a:gd name="connsiteY127" fmla="*/ 2252980 h 4998172"/>
                <a:gd name="connsiteX128" fmla="*/ 1183640 w 4570627"/>
                <a:gd name="connsiteY128" fmla="*/ 2146300 h 4998172"/>
                <a:gd name="connsiteX129" fmla="*/ 1168400 w 4570627"/>
                <a:gd name="connsiteY129" fmla="*/ 2047240 h 4998172"/>
                <a:gd name="connsiteX130" fmla="*/ 1183640 w 4570627"/>
                <a:gd name="connsiteY130" fmla="*/ 2016760 h 4998172"/>
                <a:gd name="connsiteX131" fmla="*/ 1153160 w 4570627"/>
                <a:gd name="connsiteY131" fmla="*/ 1887220 h 4998172"/>
                <a:gd name="connsiteX132" fmla="*/ 1176020 w 4570627"/>
                <a:gd name="connsiteY132" fmla="*/ 1871980 h 4998172"/>
                <a:gd name="connsiteX133" fmla="*/ 1145540 w 4570627"/>
                <a:gd name="connsiteY133" fmla="*/ 1658620 h 4998172"/>
                <a:gd name="connsiteX134" fmla="*/ 1099820 w 4570627"/>
                <a:gd name="connsiteY134" fmla="*/ 1620520 h 4998172"/>
                <a:gd name="connsiteX135" fmla="*/ 1076960 w 4570627"/>
                <a:gd name="connsiteY135" fmla="*/ 1643380 h 4998172"/>
                <a:gd name="connsiteX136" fmla="*/ 1069340 w 4570627"/>
                <a:gd name="connsiteY136" fmla="*/ 1711960 h 4998172"/>
                <a:gd name="connsiteX137" fmla="*/ 970280 w 4570627"/>
                <a:gd name="connsiteY137" fmla="*/ 1719580 h 4998172"/>
                <a:gd name="connsiteX138" fmla="*/ 932180 w 4570627"/>
                <a:gd name="connsiteY138" fmla="*/ 1574800 h 4998172"/>
                <a:gd name="connsiteX139" fmla="*/ 871220 w 4570627"/>
                <a:gd name="connsiteY139" fmla="*/ 1620520 h 4998172"/>
                <a:gd name="connsiteX140" fmla="*/ 855980 w 4570627"/>
                <a:gd name="connsiteY140" fmla="*/ 1574800 h 4998172"/>
                <a:gd name="connsiteX141" fmla="*/ 924560 w 4570627"/>
                <a:gd name="connsiteY141" fmla="*/ 1513840 h 4998172"/>
                <a:gd name="connsiteX142" fmla="*/ 855980 w 4570627"/>
                <a:gd name="connsiteY142" fmla="*/ 1384300 h 4998172"/>
                <a:gd name="connsiteX143" fmla="*/ 825500 w 4570627"/>
                <a:gd name="connsiteY143" fmla="*/ 1330960 h 4998172"/>
                <a:gd name="connsiteX144" fmla="*/ 787400 w 4570627"/>
                <a:gd name="connsiteY144" fmla="*/ 1430020 h 4998172"/>
                <a:gd name="connsiteX145" fmla="*/ 772160 w 4570627"/>
                <a:gd name="connsiteY145" fmla="*/ 1369060 h 4998172"/>
                <a:gd name="connsiteX146" fmla="*/ 688340 w 4570627"/>
                <a:gd name="connsiteY146" fmla="*/ 1422400 h 4998172"/>
                <a:gd name="connsiteX147" fmla="*/ 695960 w 4570627"/>
                <a:gd name="connsiteY147" fmla="*/ 1277620 h 4998172"/>
                <a:gd name="connsiteX148" fmla="*/ 497840 w 4570627"/>
                <a:gd name="connsiteY148" fmla="*/ 1262380 h 4998172"/>
                <a:gd name="connsiteX149" fmla="*/ 353060 w 4570627"/>
                <a:gd name="connsiteY149" fmla="*/ 1315720 h 4998172"/>
                <a:gd name="connsiteX150" fmla="*/ 467360 w 4570627"/>
                <a:gd name="connsiteY150" fmla="*/ 1376680 h 4998172"/>
                <a:gd name="connsiteX151" fmla="*/ 474980 w 4570627"/>
                <a:gd name="connsiteY151" fmla="*/ 1452880 h 4998172"/>
                <a:gd name="connsiteX152" fmla="*/ 391160 w 4570627"/>
                <a:gd name="connsiteY152" fmla="*/ 1452880 h 4998172"/>
                <a:gd name="connsiteX153" fmla="*/ 360680 w 4570627"/>
                <a:gd name="connsiteY153" fmla="*/ 1551940 h 4998172"/>
                <a:gd name="connsiteX154" fmla="*/ 132080 w 4570627"/>
                <a:gd name="connsiteY154" fmla="*/ 1567180 h 4998172"/>
                <a:gd name="connsiteX155" fmla="*/ 69850 w 4570627"/>
                <a:gd name="connsiteY155" fmla="*/ 1533991 h 4998172"/>
                <a:gd name="connsiteX156" fmla="*/ 69850 w 4570627"/>
                <a:gd name="connsiteY156" fmla="*/ 1435100 h 4998172"/>
                <a:gd name="connsiteX157" fmla="*/ 146050 w 4570627"/>
                <a:gd name="connsiteY157" fmla="*/ 1295400 h 4998172"/>
                <a:gd name="connsiteX158" fmla="*/ 82550 w 4570627"/>
                <a:gd name="connsiteY158" fmla="*/ 1193800 h 4998172"/>
                <a:gd name="connsiteX159" fmla="*/ 25400 w 4570627"/>
                <a:gd name="connsiteY159" fmla="*/ 1168400 h 4998172"/>
                <a:gd name="connsiteX160" fmla="*/ 31750 w 4570627"/>
                <a:gd name="connsiteY160" fmla="*/ 952500 h 4998172"/>
                <a:gd name="connsiteX161" fmla="*/ 0 w 4570627"/>
                <a:gd name="connsiteY161" fmla="*/ 876300 h 4998172"/>
                <a:gd name="connsiteX162" fmla="*/ 0 w 4570627"/>
                <a:gd name="connsiteY162" fmla="*/ 774700 h 4998172"/>
                <a:gd name="connsiteX163" fmla="*/ 107950 w 4570627"/>
                <a:gd name="connsiteY163" fmla="*/ 755650 h 4998172"/>
                <a:gd name="connsiteX164" fmla="*/ 127000 w 4570627"/>
                <a:gd name="connsiteY164" fmla="*/ 806450 h 4998172"/>
                <a:gd name="connsiteX165" fmla="*/ 215900 w 4570627"/>
                <a:gd name="connsiteY165" fmla="*/ 749300 h 4998172"/>
                <a:gd name="connsiteX166" fmla="*/ 368300 w 4570627"/>
                <a:gd name="connsiteY166" fmla="*/ 749300 h 4998172"/>
                <a:gd name="connsiteX167" fmla="*/ 368300 w 4570627"/>
                <a:gd name="connsiteY167" fmla="*/ 800100 h 4998172"/>
                <a:gd name="connsiteX168" fmla="*/ 495300 w 4570627"/>
                <a:gd name="connsiteY168" fmla="*/ 800100 h 4998172"/>
                <a:gd name="connsiteX169" fmla="*/ 488950 w 4570627"/>
                <a:gd name="connsiteY169" fmla="*/ 711200 h 4998172"/>
                <a:gd name="connsiteX170" fmla="*/ 488950 w 4570627"/>
                <a:gd name="connsiteY170" fmla="*/ 603250 h 4998172"/>
                <a:gd name="connsiteX171" fmla="*/ 596900 w 4570627"/>
                <a:gd name="connsiteY171" fmla="*/ 615950 h 4998172"/>
                <a:gd name="connsiteX172" fmla="*/ 679450 w 4570627"/>
                <a:gd name="connsiteY172" fmla="*/ 514350 h 4998172"/>
                <a:gd name="connsiteX173" fmla="*/ 717550 w 4570627"/>
                <a:gd name="connsiteY173" fmla="*/ 311150 h 4998172"/>
                <a:gd name="connsiteX174" fmla="*/ 812800 w 4570627"/>
                <a:gd name="connsiteY174" fmla="*/ 361950 h 4998172"/>
                <a:gd name="connsiteX175" fmla="*/ 952500 w 4570627"/>
                <a:gd name="connsiteY175" fmla="*/ 266700 h 4998172"/>
                <a:gd name="connsiteX176" fmla="*/ 979517 w 4570627"/>
                <a:gd name="connsiteY176" fmla="*/ 226177 h 4998172"/>
                <a:gd name="connsiteX177" fmla="*/ 977900 w 4570627"/>
                <a:gd name="connsiteY177" fmla="*/ 273050 h 4998172"/>
                <a:gd name="connsiteX178" fmla="*/ 1060450 w 4570627"/>
                <a:gd name="connsiteY178" fmla="*/ 177800 h 4998172"/>
                <a:gd name="connsiteX179" fmla="*/ 812800 w 4570627"/>
                <a:gd name="connsiteY179" fmla="*/ 12701 h 4998172"/>
                <a:gd name="connsiteX180" fmla="*/ 812801 w 4570627"/>
                <a:gd name="connsiteY180" fmla="*/ 12701 h 4998172"/>
                <a:gd name="connsiteX181" fmla="*/ 869950 w 4570627"/>
                <a:gd name="connsiteY181" fmla="*/ 69850 h 4998172"/>
                <a:gd name="connsiteX182" fmla="*/ 920750 w 4570627"/>
                <a:gd name="connsiteY182" fmla="*/ 57150 h 4998172"/>
                <a:gd name="connsiteX183" fmla="*/ 920750 w 4570627"/>
                <a:gd name="connsiteY183" fmla="*/ 57151 h 4998172"/>
                <a:gd name="connsiteX184" fmla="*/ 869950 w 4570627"/>
                <a:gd name="connsiteY184" fmla="*/ 69851 h 4998172"/>
                <a:gd name="connsiteX185" fmla="*/ 812800 w 4570627"/>
                <a:gd name="connsiteY185" fmla="*/ 12701 h 4998172"/>
                <a:gd name="connsiteX186" fmla="*/ 984250 w 4570627"/>
                <a:gd name="connsiteY186" fmla="*/ 0 h 4998172"/>
                <a:gd name="connsiteX187" fmla="*/ 1022350 w 4570627"/>
                <a:gd name="connsiteY187" fmla="*/ 50800 h 4998172"/>
                <a:gd name="connsiteX188" fmla="*/ 1022350 w 4570627"/>
                <a:gd name="connsiteY188" fmla="*/ 50801 h 4998172"/>
                <a:gd name="connsiteX189" fmla="*/ 984250 w 4570627"/>
                <a:gd name="connsiteY189" fmla="*/ 1 h 4998172"/>
                <a:gd name="connsiteX190" fmla="*/ 908051 w 4570627"/>
                <a:gd name="connsiteY190" fmla="*/ 6351 h 4998172"/>
                <a:gd name="connsiteX191" fmla="*/ 908050 w 4570627"/>
                <a:gd name="connsiteY191" fmla="*/ 6350 h 4998172"/>
                <a:gd name="connsiteX192" fmla="*/ 984250 w 4570627"/>
                <a:gd name="connsiteY192" fmla="*/ 0 h 4998172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2844800 w 4570627"/>
                <a:gd name="connsiteY5" fmla="*/ 279402 h 4998172"/>
                <a:gd name="connsiteX6" fmla="*/ 2749551 w 4570627"/>
                <a:gd name="connsiteY6" fmla="*/ 196852 h 4998172"/>
                <a:gd name="connsiteX7" fmla="*/ 2787650 w 4570627"/>
                <a:gd name="connsiteY7" fmla="*/ 241301 h 4998172"/>
                <a:gd name="connsiteX8" fmla="*/ 2844800 w 4570627"/>
                <a:gd name="connsiteY8" fmla="*/ 279401 h 4998172"/>
                <a:gd name="connsiteX9" fmla="*/ 2844800 w 4570627"/>
                <a:gd name="connsiteY9" fmla="*/ 279402 h 4998172"/>
                <a:gd name="connsiteX10" fmla="*/ 1060450 w 4570627"/>
                <a:gd name="connsiteY10" fmla="*/ 177800 h 4998172"/>
                <a:gd name="connsiteX11" fmla="*/ 1149350 w 4570627"/>
                <a:gd name="connsiteY11" fmla="*/ 215900 h 4998172"/>
                <a:gd name="connsiteX12" fmla="*/ 1263650 w 4570627"/>
                <a:gd name="connsiteY12" fmla="*/ 292100 h 4998172"/>
                <a:gd name="connsiteX13" fmla="*/ 1320800 w 4570627"/>
                <a:gd name="connsiteY13" fmla="*/ 412750 h 4998172"/>
                <a:gd name="connsiteX14" fmla="*/ 1371600 w 4570627"/>
                <a:gd name="connsiteY14" fmla="*/ 393700 h 4998172"/>
                <a:gd name="connsiteX15" fmla="*/ 1479550 w 4570627"/>
                <a:gd name="connsiteY15" fmla="*/ 501650 h 4998172"/>
                <a:gd name="connsiteX16" fmla="*/ 1530350 w 4570627"/>
                <a:gd name="connsiteY16" fmla="*/ 666750 h 4998172"/>
                <a:gd name="connsiteX17" fmla="*/ 1612900 w 4570627"/>
                <a:gd name="connsiteY17" fmla="*/ 711200 h 4998172"/>
                <a:gd name="connsiteX18" fmla="*/ 1638300 w 4570627"/>
                <a:gd name="connsiteY18" fmla="*/ 641350 h 4998172"/>
                <a:gd name="connsiteX19" fmla="*/ 1739900 w 4570627"/>
                <a:gd name="connsiteY19" fmla="*/ 647700 h 4998172"/>
                <a:gd name="connsiteX20" fmla="*/ 1746250 w 4570627"/>
                <a:gd name="connsiteY20" fmla="*/ 596900 h 4998172"/>
                <a:gd name="connsiteX21" fmla="*/ 1689100 w 4570627"/>
                <a:gd name="connsiteY21" fmla="*/ 565150 h 4998172"/>
                <a:gd name="connsiteX22" fmla="*/ 1638300 w 4570627"/>
                <a:gd name="connsiteY22" fmla="*/ 520700 h 4998172"/>
                <a:gd name="connsiteX23" fmla="*/ 1625600 w 4570627"/>
                <a:gd name="connsiteY23" fmla="*/ 469900 h 4998172"/>
                <a:gd name="connsiteX24" fmla="*/ 1778000 w 4570627"/>
                <a:gd name="connsiteY24" fmla="*/ 412750 h 4998172"/>
                <a:gd name="connsiteX25" fmla="*/ 1879600 w 4570627"/>
                <a:gd name="connsiteY25" fmla="*/ 425450 h 4998172"/>
                <a:gd name="connsiteX26" fmla="*/ 1873250 w 4570627"/>
                <a:gd name="connsiteY26" fmla="*/ 488950 h 4998172"/>
                <a:gd name="connsiteX27" fmla="*/ 1981200 w 4570627"/>
                <a:gd name="connsiteY27" fmla="*/ 482600 h 4998172"/>
                <a:gd name="connsiteX28" fmla="*/ 2006600 w 4570627"/>
                <a:gd name="connsiteY28" fmla="*/ 482600 h 4998172"/>
                <a:gd name="connsiteX29" fmla="*/ 2032000 w 4570627"/>
                <a:gd name="connsiteY29" fmla="*/ 584200 h 4998172"/>
                <a:gd name="connsiteX30" fmla="*/ 2133600 w 4570627"/>
                <a:gd name="connsiteY30" fmla="*/ 596900 h 4998172"/>
                <a:gd name="connsiteX31" fmla="*/ 2171700 w 4570627"/>
                <a:gd name="connsiteY31" fmla="*/ 463550 h 4998172"/>
                <a:gd name="connsiteX32" fmla="*/ 2146300 w 4570627"/>
                <a:gd name="connsiteY32" fmla="*/ 323850 h 4998172"/>
                <a:gd name="connsiteX33" fmla="*/ 2216150 w 4570627"/>
                <a:gd name="connsiteY33" fmla="*/ 241300 h 4998172"/>
                <a:gd name="connsiteX34" fmla="*/ 2279650 w 4570627"/>
                <a:gd name="connsiteY34" fmla="*/ 234950 h 4998172"/>
                <a:gd name="connsiteX35" fmla="*/ 2305050 w 4570627"/>
                <a:gd name="connsiteY35" fmla="*/ 330200 h 4998172"/>
                <a:gd name="connsiteX36" fmla="*/ 2374900 w 4570627"/>
                <a:gd name="connsiteY36" fmla="*/ 393700 h 4998172"/>
                <a:gd name="connsiteX37" fmla="*/ 2381250 w 4570627"/>
                <a:gd name="connsiteY37" fmla="*/ 457200 h 4998172"/>
                <a:gd name="connsiteX38" fmla="*/ 2514600 w 4570627"/>
                <a:gd name="connsiteY38" fmla="*/ 406400 h 4998172"/>
                <a:gd name="connsiteX39" fmla="*/ 2641600 w 4570627"/>
                <a:gd name="connsiteY39" fmla="*/ 381000 h 4998172"/>
                <a:gd name="connsiteX40" fmla="*/ 2686050 w 4570627"/>
                <a:gd name="connsiteY40" fmla="*/ 419100 h 4998172"/>
                <a:gd name="connsiteX41" fmla="*/ 2774950 w 4570627"/>
                <a:gd name="connsiteY41" fmla="*/ 368300 h 4998172"/>
                <a:gd name="connsiteX42" fmla="*/ 2796953 w 4570627"/>
                <a:gd name="connsiteY42" fmla="*/ 370396 h 4998172"/>
                <a:gd name="connsiteX43" fmla="*/ 2787650 w 4570627"/>
                <a:gd name="connsiteY43" fmla="*/ 349252 h 4998172"/>
                <a:gd name="connsiteX44" fmla="*/ 2857500 w 4570627"/>
                <a:gd name="connsiteY44" fmla="*/ 508001 h 4998172"/>
                <a:gd name="connsiteX45" fmla="*/ 2971800 w 4570627"/>
                <a:gd name="connsiteY45" fmla="*/ 533401 h 4998172"/>
                <a:gd name="connsiteX46" fmla="*/ 3054350 w 4570627"/>
                <a:gd name="connsiteY46" fmla="*/ 552451 h 4998172"/>
                <a:gd name="connsiteX47" fmla="*/ 3093057 w 4570627"/>
                <a:gd name="connsiteY47" fmla="*/ 707281 h 4998172"/>
                <a:gd name="connsiteX48" fmla="*/ 3011086 w 4570627"/>
                <a:gd name="connsiteY48" fmla="*/ 588423 h 4998172"/>
                <a:gd name="connsiteX49" fmla="*/ 2924805 w 4570627"/>
                <a:gd name="connsiteY49" fmla="*/ 674704 h 4998172"/>
                <a:gd name="connsiteX50" fmla="*/ 3026774 w 4570627"/>
                <a:gd name="connsiteY50" fmla="*/ 784516 h 4998172"/>
                <a:gd name="connsiteX51" fmla="*/ 3050305 w 4570627"/>
                <a:gd name="connsiteY51" fmla="*/ 957078 h 4998172"/>
                <a:gd name="connsiteX52" fmla="*/ 3348367 w 4570627"/>
                <a:gd name="connsiteY52" fmla="*/ 1129641 h 4998172"/>
                <a:gd name="connsiteX53" fmla="*/ 3411117 w 4570627"/>
                <a:gd name="connsiteY53" fmla="*/ 1239453 h 4998172"/>
                <a:gd name="connsiteX54" fmla="*/ 3262086 w 4570627"/>
                <a:gd name="connsiteY54" fmla="*/ 1419859 h 4998172"/>
                <a:gd name="connsiteX55" fmla="*/ 3395429 w 4570627"/>
                <a:gd name="connsiteY55" fmla="*/ 1663015 h 4998172"/>
                <a:gd name="connsiteX56" fmla="*/ 3489554 w 4570627"/>
                <a:gd name="connsiteY56" fmla="*/ 1945389 h 4998172"/>
                <a:gd name="connsiteX57" fmla="*/ 3638585 w 4570627"/>
                <a:gd name="connsiteY57" fmla="*/ 2110108 h 4998172"/>
                <a:gd name="connsiteX58" fmla="*/ 3756241 w 4570627"/>
                <a:gd name="connsiteY58" fmla="*/ 2015983 h 4998172"/>
                <a:gd name="connsiteX59" fmla="*/ 3905271 w 4570627"/>
                <a:gd name="connsiteY59" fmla="*/ 2259139 h 4998172"/>
                <a:gd name="connsiteX60" fmla="*/ 4007240 w 4570627"/>
                <a:gd name="connsiteY60" fmla="*/ 2376795 h 4998172"/>
                <a:gd name="connsiteX61" fmla="*/ 4124896 w 4570627"/>
                <a:gd name="connsiteY61" fmla="*/ 2376795 h 4998172"/>
                <a:gd name="connsiteX62" fmla="*/ 4328833 w 4570627"/>
                <a:gd name="connsiteY62" fmla="*/ 2659169 h 4998172"/>
                <a:gd name="connsiteX63" fmla="*/ 4446489 w 4570627"/>
                <a:gd name="connsiteY63" fmla="*/ 2643482 h 4998172"/>
                <a:gd name="connsiteX64" fmla="*/ 4564145 w 4570627"/>
                <a:gd name="connsiteY64" fmla="*/ 2768982 h 4998172"/>
                <a:gd name="connsiteX65" fmla="*/ 4570627 w 4570627"/>
                <a:gd name="connsiteY65" fmla="*/ 2778982 h 4998172"/>
                <a:gd name="connsiteX66" fmla="*/ 4493946 w 4570627"/>
                <a:gd name="connsiteY66" fmla="*/ 3147050 h 4998172"/>
                <a:gd name="connsiteX67" fmla="*/ 4274322 w 4570627"/>
                <a:gd name="connsiteY67" fmla="*/ 3162737 h 4998172"/>
                <a:gd name="connsiteX68" fmla="*/ 4180197 w 4570627"/>
                <a:gd name="connsiteY68" fmla="*/ 3492174 h 4998172"/>
                <a:gd name="connsiteX69" fmla="*/ 3819386 w 4570627"/>
                <a:gd name="connsiteY69" fmla="*/ 3617674 h 4998172"/>
                <a:gd name="connsiteX70" fmla="*/ 3552699 w 4570627"/>
                <a:gd name="connsiteY70" fmla="*/ 3774549 h 4998172"/>
                <a:gd name="connsiteX71" fmla="*/ 3552699 w 4570627"/>
                <a:gd name="connsiteY71" fmla="*/ 3884361 h 4998172"/>
                <a:gd name="connsiteX72" fmla="*/ 3788011 w 4570627"/>
                <a:gd name="connsiteY72" fmla="*/ 4088298 h 4998172"/>
                <a:gd name="connsiteX73" fmla="*/ 3772323 w 4570627"/>
                <a:gd name="connsiteY73" fmla="*/ 4307923 h 4998172"/>
                <a:gd name="connsiteX74" fmla="*/ 3866448 w 4570627"/>
                <a:gd name="connsiteY74" fmla="*/ 4417735 h 4998172"/>
                <a:gd name="connsiteX75" fmla="*/ 3897823 w 4570627"/>
                <a:gd name="connsiteY75" fmla="*/ 4653048 h 4998172"/>
                <a:gd name="connsiteX76" fmla="*/ 3819386 w 4570627"/>
                <a:gd name="connsiteY76" fmla="*/ 4762860 h 4998172"/>
                <a:gd name="connsiteX77" fmla="*/ 3662511 w 4570627"/>
                <a:gd name="connsiteY77" fmla="*/ 4684422 h 4998172"/>
                <a:gd name="connsiteX78" fmla="*/ 3615449 w 4570627"/>
                <a:gd name="connsiteY78" fmla="*/ 4605985 h 4998172"/>
                <a:gd name="connsiteX79" fmla="*/ 3615449 w 4570627"/>
                <a:gd name="connsiteY79" fmla="*/ 4464798 h 4998172"/>
                <a:gd name="connsiteX80" fmla="*/ 3458574 w 4570627"/>
                <a:gd name="connsiteY80" fmla="*/ 4402048 h 4998172"/>
                <a:gd name="connsiteX81" fmla="*/ 3395824 w 4570627"/>
                <a:gd name="connsiteY81" fmla="*/ 4527548 h 4998172"/>
                <a:gd name="connsiteX82" fmla="*/ 3160513 w 4570627"/>
                <a:gd name="connsiteY82" fmla="*/ 4449110 h 4998172"/>
                <a:gd name="connsiteX83" fmla="*/ 3144825 w 4570627"/>
                <a:gd name="connsiteY83" fmla="*/ 4386360 h 4998172"/>
                <a:gd name="connsiteX84" fmla="*/ 2940888 w 4570627"/>
                <a:gd name="connsiteY84" fmla="*/ 4464798 h 4998172"/>
                <a:gd name="connsiteX85" fmla="*/ 2831076 w 4570627"/>
                <a:gd name="connsiteY85" fmla="*/ 4574610 h 4998172"/>
                <a:gd name="connsiteX86" fmla="*/ 2564389 w 4570627"/>
                <a:gd name="connsiteY86" fmla="*/ 4605985 h 4998172"/>
                <a:gd name="connsiteX87" fmla="*/ 2329077 w 4570627"/>
                <a:gd name="connsiteY87" fmla="*/ 4621673 h 4998172"/>
                <a:gd name="connsiteX88" fmla="*/ 2125140 w 4570627"/>
                <a:gd name="connsiteY88" fmla="*/ 4809922 h 4998172"/>
                <a:gd name="connsiteX89" fmla="*/ 1936891 w 4570627"/>
                <a:gd name="connsiteY89" fmla="*/ 4856985 h 4998172"/>
                <a:gd name="connsiteX90" fmla="*/ 1717266 w 4570627"/>
                <a:gd name="connsiteY90" fmla="*/ 4747172 h 4998172"/>
                <a:gd name="connsiteX91" fmla="*/ 1701579 w 4570627"/>
                <a:gd name="connsiteY91" fmla="*/ 4621673 h 4998172"/>
                <a:gd name="connsiteX92" fmla="*/ 1576079 w 4570627"/>
                <a:gd name="connsiteY92" fmla="*/ 4574610 h 4998172"/>
                <a:gd name="connsiteX93" fmla="*/ 1419205 w 4570627"/>
                <a:gd name="connsiteY93" fmla="*/ 4574610 h 4998172"/>
                <a:gd name="connsiteX94" fmla="*/ 1340768 w 4570627"/>
                <a:gd name="connsiteY94" fmla="*/ 4668735 h 4998172"/>
                <a:gd name="connsiteX95" fmla="*/ 1309393 w 4570627"/>
                <a:gd name="connsiteY95" fmla="*/ 4825610 h 4998172"/>
                <a:gd name="connsiteX96" fmla="*/ 1246643 w 4570627"/>
                <a:gd name="connsiteY96" fmla="*/ 4919735 h 4998172"/>
                <a:gd name="connsiteX97" fmla="*/ 1152518 w 4570627"/>
                <a:gd name="connsiteY97" fmla="*/ 4998172 h 4998172"/>
                <a:gd name="connsiteX98" fmla="*/ 964268 w 4570627"/>
                <a:gd name="connsiteY98" fmla="*/ 4951110 h 4998172"/>
                <a:gd name="connsiteX99" fmla="*/ 948581 w 4570627"/>
                <a:gd name="connsiteY99" fmla="*/ 4684422 h 4998172"/>
                <a:gd name="connsiteX100" fmla="*/ 807394 w 4570627"/>
                <a:gd name="connsiteY100" fmla="*/ 4590298 h 4998172"/>
                <a:gd name="connsiteX101" fmla="*/ 773692 w 4570627"/>
                <a:gd name="connsiteY101" fmla="*/ 4590298 h 4998172"/>
                <a:gd name="connsiteX102" fmla="*/ 802640 w 4570627"/>
                <a:gd name="connsiteY102" fmla="*/ 4538980 h 4998172"/>
                <a:gd name="connsiteX103" fmla="*/ 894080 w 4570627"/>
                <a:gd name="connsiteY103" fmla="*/ 4439920 h 4998172"/>
                <a:gd name="connsiteX104" fmla="*/ 1122680 w 4570627"/>
                <a:gd name="connsiteY104" fmla="*/ 4470400 h 4998172"/>
                <a:gd name="connsiteX105" fmla="*/ 1168400 w 4570627"/>
                <a:gd name="connsiteY105" fmla="*/ 4401820 h 4998172"/>
                <a:gd name="connsiteX106" fmla="*/ 1122680 w 4570627"/>
                <a:gd name="connsiteY106" fmla="*/ 4272280 h 4998172"/>
                <a:gd name="connsiteX107" fmla="*/ 1160780 w 4570627"/>
                <a:gd name="connsiteY107" fmla="*/ 4218940 h 4998172"/>
                <a:gd name="connsiteX108" fmla="*/ 1130300 w 4570627"/>
                <a:gd name="connsiteY108" fmla="*/ 4127500 h 4998172"/>
                <a:gd name="connsiteX109" fmla="*/ 1160780 w 4570627"/>
                <a:gd name="connsiteY109" fmla="*/ 3807460 h 4998172"/>
                <a:gd name="connsiteX110" fmla="*/ 1038860 w 4570627"/>
                <a:gd name="connsiteY110" fmla="*/ 3395980 h 4998172"/>
                <a:gd name="connsiteX111" fmla="*/ 1130300 w 4570627"/>
                <a:gd name="connsiteY111" fmla="*/ 3235960 h 4998172"/>
                <a:gd name="connsiteX112" fmla="*/ 1183640 w 4570627"/>
                <a:gd name="connsiteY112" fmla="*/ 3274060 h 4998172"/>
                <a:gd name="connsiteX113" fmla="*/ 1336040 w 4570627"/>
                <a:gd name="connsiteY113" fmla="*/ 3175000 h 4998172"/>
                <a:gd name="connsiteX114" fmla="*/ 1351280 w 4570627"/>
                <a:gd name="connsiteY114" fmla="*/ 3045460 h 4998172"/>
                <a:gd name="connsiteX115" fmla="*/ 1290320 w 4570627"/>
                <a:gd name="connsiteY115" fmla="*/ 2969260 h 4998172"/>
                <a:gd name="connsiteX116" fmla="*/ 1290320 w 4570627"/>
                <a:gd name="connsiteY116" fmla="*/ 2923540 h 4998172"/>
                <a:gd name="connsiteX117" fmla="*/ 1366520 w 4570627"/>
                <a:gd name="connsiteY117" fmla="*/ 2923540 h 4998172"/>
                <a:gd name="connsiteX118" fmla="*/ 1389380 w 4570627"/>
                <a:gd name="connsiteY118" fmla="*/ 2969260 h 4998172"/>
                <a:gd name="connsiteX119" fmla="*/ 1518920 w 4570627"/>
                <a:gd name="connsiteY119" fmla="*/ 2938780 h 4998172"/>
                <a:gd name="connsiteX120" fmla="*/ 1503680 w 4570627"/>
                <a:gd name="connsiteY120" fmla="*/ 2847340 h 4998172"/>
                <a:gd name="connsiteX121" fmla="*/ 1450340 w 4570627"/>
                <a:gd name="connsiteY121" fmla="*/ 2786380 h 4998172"/>
                <a:gd name="connsiteX122" fmla="*/ 1488440 w 4570627"/>
                <a:gd name="connsiteY122" fmla="*/ 2573020 h 4998172"/>
                <a:gd name="connsiteX123" fmla="*/ 1389380 w 4570627"/>
                <a:gd name="connsiteY123" fmla="*/ 2420620 h 4998172"/>
                <a:gd name="connsiteX124" fmla="*/ 1297940 w 4570627"/>
                <a:gd name="connsiteY124" fmla="*/ 2405380 h 4998172"/>
                <a:gd name="connsiteX125" fmla="*/ 1244600 w 4570627"/>
                <a:gd name="connsiteY125" fmla="*/ 2306320 h 4998172"/>
                <a:gd name="connsiteX126" fmla="*/ 1282700 w 4570627"/>
                <a:gd name="connsiteY126" fmla="*/ 2252980 h 4998172"/>
                <a:gd name="connsiteX127" fmla="*/ 1183640 w 4570627"/>
                <a:gd name="connsiteY127" fmla="*/ 2146300 h 4998172"/>
                <a:gd name="connsiteX128" fmla="*/ 1168400 w 4570627"/>
                <a:gd name="connsiteY128" fmla="*/ 2047240 h 4998172"/>
                <a:gd name="connsiteX129" fmla="*/ 1183640 w 4570627"/>
                <a:gd name="connsiteY129" fmla="*/ 2016760 h 4998172"/>
                <a:gd name="connsiteX130" fmla="*/ 1153160 w 4570627"/>
                <a:gd name="connsiteY130" fmla="*/ 1887220 h 4998172"/>
                <a:gd name="connsiteX131" fmla="*/ 1176020 w 4570627"/>
                <a:gd name="connsiteY131" fmla="*/ 1871980 h 4998172"/>
                <a:gd name="connsiteX132" fmla="*/ 1145540 w 4570627"/>
                <a:gd name="connsiteY132" fmla="*/ 1658620 h 4998172"/>
                <a:gd name="connsiteX133" fmla="*/ 1099820 w 4570627"/>
                <a:gd name="connsiteY133" fmla="*/ 1620520 h 4998172"/>
                <a:gd name="connsiteX134" fmla="*/ 1076960 w 4570627"/>
                <a:gd name="connsiteY134" fmla="*/ 1643380 h 4998172"/>
                <a:gd name="connsiteX135" fmla="*/ 1069340 w 4570627"/>
                <a:gd name="connsiteY135" fmla="*/ 1711960 h 4998172"/>
                <a:gd name="connsiteX136" fmla="*/ 970280 w 4570627"/>
                <a:gd name="connsiteY136" fmla="*/ 1719580 h 4998172"/>
                <a:gd name="connsiteX137" fmla="*/ 932180 w 4570627"/>
                <a:gd name="connsiteY137" fmla="*/ 1574800 h 4998172"/>
                <a:gd name="connsiteX138" fmla="*/ 871220 w 4570627"/>
                <a:gd name="connsiteY138" fmla="*/ 1620520 h 4998172"/>
                <a:gd name="connsiteX139" fmla="*/ 855980 w 4570627"/>
                <a:gd name="connsiteY139" fmla="*/ 1574800 h 4998172"/>
                <a:gd name="connsiteX140" fmla="*/ 924560 w 4570627"/>
                <a:gd name="connsiteY140" fmla="*/ 1513840 h 4998172"/>
                <a:gd name="connsiteX141" fmla="*/ 855980 w 4570627"/>
                <a:gd name="connsiteY141" fmla="*/ 1384300 h 4998172"/>
                <a:gd name="connsiteX142" fmla="*/ 825500 w 4570627"/>
                <a:gd name="connsiteY142" fmla="*/ 1330960 h 4998172"/>
                <a:gd name="connsiteX143" fmla="*/ 787400 w 4570627"/>
                <a:gd name="connsiteY143" fmla="*/ 1430020 h 4998172"/>
                <a:gd name="connsiteX144" fmla="*/ 772160 w 4570627"/>
                <a:gd name="connsiteY144" fmla="*/ 1369060 h 4998172"/>
                <a:gd name="connsiteX145" fmla="*/ 688340 w 4570627"/>
                <a:gd name="connsiteY145" fmla="*/ 1422400 h 4998172"/>
                <a:gd name="connsiteX146" fmla="*/ 695960 w 4570627"/>
                <a:gd name="connsiteY146" fmla="*/ 1277620 h 4998172"/>
                <a:gd name="connsiteX147" fmla="*/ 497840 w 4570627"/>
                <a:gd name="connsiteY147" fmla="*/ 1262380 h 4998172"/>
                <a:gd name="connsiteX148" fmla="*/ 353060 w 4570627"/>
                <a:gd name="connsiteY148" fmla="*/ 1315720 h 4998172"/>
                <a:gd name="connsiteX149" fmla="*/ 467360 w 4570627"/>
                <a:gd name="connsiteY149" fmla="*/ 1376680 h 4998172"/>
                <a:gd name="connsiteX150" fmla="*/ 474980 w 4570627"/>
                <a:gd name="connsiteY150" fmla="*/ 1452880 h 4998172"/>
                <a:gd name="connsiteX151" fmla="*/ 391160 w 4570627"/>
                <a:gd name="connsiteY151" fmla="*/ 1452880 h 4998172"/>
                <a:gd name="connsiteX152" fmla="*/ 360680 w 4570627"/>
                <a:gd name="connsiteY152" fmla="*/ 1551940 h 4998172"/>
                <a:gd name="connsiteX153" fmla="*/ 132080 w 4570627"/>
                <a:gd name="connsiteY153" fmla="*/ 1567180 h 4998172"/>
                <a:gd name="connsiteX154" fmla="*/ 69850 w 4570627"/>
                <a:gd name="connsiteY154" fmla="*/ 1533991 h 4998172"/>
                <a:gd name="connsiteX155" fmla="*/ 69850 w 4570627"/>
                <a:gd name="connsiteY155" fmla="*/ 1435100 h 4998172"/>
                <a:gd name="connsiteX156" fmla="*/ 146050 w 4570627"/>
                <a:gd name="connsiteY156" fmla="*/ 1295400 h 4998172"/>
                <a:gd name="connsiteX157" fmla="*/ 82550 w 4570627"/>
                <a:gd name="connsiteY157" fmla="*/ 1193800 h 4998172"/>
                <a:gd name="connsiteX158" fmla="*/ 25400 w 4570627"/>
                <a:gd name="connsiteY158" fmla="*/ 1168400 h 4998172"/>
                <a:gd name="connsiteX159" fmla="*/ 31750 w 4570627"/>
                <a:gd name="connsiteY159" fmla="*/ 952500 h 4998172"/>
                <a:gd name="connsiteX160" fmla="*/ 0 w 4570627"/>
                <a:gd name="connsiteY160" fmla="*/ 876300 h 4998172"/>
                <a:gd name="connsiteX161" fmla="*/ 0 w 4570627"/>
                <a:gd name="connsiteY161" fmla="*/ 774700 h 4998172"/>
                <a:gd name="connsiteX162" fmla="*/ 107950 w 4570627"/>
                <a:gd name="connsiteY162" fmla="*/ 755650 h 4998172"/>
                <a:gd name="connsiteX163" fmla="*/ 127000 w 4570627"/>
                <a:gd name="connsiteY163" fmla="*/ 806450 h 4998172"/>
                <a:gd name="connsiteX164" fmla="*/ 215900 w 4570627"/>
                <a:gd name="connsiteY164" fmla="*/ 749300 h 4998172"/>
                <a:gd name="connsiteX165" fmla="*/ 368300 w 4570627"/>
                <a:gd name="connsiteY165" fmla="*/ 749300 h 4998172"/>
                <a:gd name="connsiteX166" fmla="*/ 368300 w 4570627"/>
                <a:gd name="connsiteY166" fmla="*/ 800100 h 4998172"/>
                <a:gd name="connsiteX167" fmla="*/ 495300 w 4570627"/>
                <a:gd name="connsiteY167" fmla="*/ 800100 h 4998172"/>
                <a:gd name="connsiteX168" fmla="*/ 488950 w 4570627"/>
                <a:gd name="connsiteY168" fmla="*/ 711200 h 4998172"/>
                <a:gd name="connsiteX169" fmla="*/ 488950 w 4570627"/>
                <a:gd name="connsiteY169" fmla="*/ 603250 h 4998172"/>
                <a:gd name="connsiteX170" fmla="*/ 596900 w 4570627"/>
                <a:gd name="connsiteY170" fmla="*/ 615950 h 4998172"/>
                <a:gd name="connsiteX171" fmla="*/ 679450 w 4570627"/>
                <a:gd name="connsiteY171" fmla="*/ 514350 h 4998172"/>
                <a:gd name="connsiteX172" fmla="*/ 717550 w 4570627"/>
                <a:gd name="connsiteY172" fmla="*/ 311150 h 4998172"/>
                <a:gd name="connsiteX173" fmla="*/ 812800 w 4570627"/>
                <a:gd name="connsiteY173" fmla="*/ 361950 h 4998172"/>
                <a:gd name="connsiteX174" fmla="*/ 952500 w 4570627"/>
                <a:gd name="connsiteY174" fmla="*/ 266700 h 4998172"/>
                <a:gd name="connsiteX175" fmla="*/ 979517 w 4570627"/>
                <a:gd name="connsiteY175" fmla="*/ 226177 h 4998172"/>
                <a:gd name="connsiteX176" fmla="*/ 977900 w 4570627"/>
                <a:gd name="connsiteY176" fmla="*/ 273050 h 4998172"/>
                <a:gd name="connsiteX177" fmla="*/ 1060450 w 4570627"/>
                <a:gd name="connsiteY177" fmla="*/ 177800 h 4998172"/>
                <a:gd name="connsiteX178" fmla="*/ 812800 w 4570627"/>
                <a:gd name="connsiteY178" fmla="*/ 12701 h 4998172"/>
                <a:gd name="connsiteX179" fmla="*/ 812801 w 4570627"/>
                <a:gd name="connsiteY179" fmla="*/ 12701 h 4998172"/>
                <a:gd name="connsiteX180" fmla="*/ 869950 w 4570627"/>
                <a:gd name="connsiteY180" fmla="*/ 69850 h 4998172"/>
                <a:gd name="connsiteX181" fmla="*/ 920750 w 4570627"/>
                <a:gd name="connsiteY181" fmla="*/ 57150 h 4998172"/>
                <a:gd name="connsiteX182" fmla="*/ 920750 w 4570627"/>
                <a:gd name="connsiteY182" fmla="*/ 57151 h 4998172"/>
                <a:gd name="connsiteX183" fmla="*/ 869950 w 4570627"/>
                <a:gd name="connsiteY183" fmla="*/ 69851 h 4998172"/>
                <a:gd name="connsiteX184" fmla="*/ 812800 w 4570627"/>
                <a:gd name="connsiteY184" fmla="*/ 12701 h 4998172"/>
                <a:gd name="connsiteX185" fmla="*/ 984250 w 4570627"/>
                <a:gd name="connsiteY185" fmla="*/ 0 h 4998172"/>
                <a:gd name="connsiteX186" fmla="*/ 1022350 w 4570627"/>
                <a:gd name="connsiteY186" fmla="*/ 50800 h 4998172"/>
                <a:gd name="connsiteX187" fmla="*/ 1022350 w 4570627"/>
                <a:gd name="connsiteY187" fmla="*/ 50801 h 4998172"/>
                <a:gd name="connsiteX188" fmla="*/ 984250 w 4570627"/>
                <a:gd name="connsiteY188" fmla="*/ 1 h 4998172"/>
                <a:gd name="connsiteX189" fmla="*/ 908051 w 4570627"/>
                <a:gd name="connsiteY189" fmla="*/ 6351 h 4998172"/>
                <a:gd name="connsiteX190" fmla="*/ 908050 w 4570627"/>
                <a:gd name="connsiteY190" fmla="*/ 6350 h 4998172"/>
                <a:gd name="connsiteX191" fmla="*/ 984250 w 4570627"/>
                <a:gd name="connsiteY191" fmla="*/ 0 h 4998172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2844800 w 4570627"/>
                <a:gd name="connsiteY5" fmla="*/ 279402 h 4998172"/>
                <a:gd name="connsiteX6" fmla="*/ 2749551 w 4570627"/>
                <a:gd name="connsiteY6" fmla="*/ 196852 h 4998172"/>
                <a:gd name="connsiteX7" fmla="*/ 2844800 w 4570627"/>
                <a:gd name="connsiteY7" fmla="*/ 279401 h 4998172"/>
                <a:gd name="connsiteX8" fmla="*/ 2844800 w 4570627"/>
                <a:gd name="connsiteY8" fmla="*/ 279402 h 4998172"/>
                <a:gd name="connsiteX9" fmla="*/ 1060450 w 4570627"/>
                <a:gd name="connsiteY9" fmla="*/ 177800 h 4998172"/>
                <a:gd name="connsiteX10" fmla="*/ 1149350 w 4570627"/>
                <a:gd name="connsiteY10" fmla="*/ 215900 h 4998172"/>
                <a:gd name="connsiteX11" fmla="*/ 1263650 w 4570627"/>
                <a:gd name="connsiteY11" fmla="*/ 292100 h 4998172"/>
                <a:gd name="connsiteX12" fmla="*/ 1320800 w 4570627"/>
                <a:gd name="connsiteY12" fmla="*/ 412750 h 4998172"/>
                <a:gd name="connsiteX13" fmla="*/ 1371600 w 4570627"/>
                <a:gd name="connsiteY13" fmla="*/ 393700 h 4998172"/>
                <a:gd name="connsiteX14" fmla="*/ 1479550 w 4570627"/>
                <a:gd name="connsiteY14" fmla="*/ 501650 h 4998172"/>
                <a:gd name="connsiteX15" fmla="*/ 1530350 w 4570627"/>
                <a:gd name="connsiteY15" fmla="*/ 666750 h 4998172"/>
                <a:gd name="connsiteX16" fmla="*/ 1612900 w 4570627"/>
                <a:gd name="connsiteY16" fmla="*/ 711200 h 4998172"/>
                <a:gd name="connsiteX17" fmla="*/ 1638300 w 4570627"/>
                <a:gd name="connsiteY17" fmla="*/ 641350 h 4998172"/>
                <a:gd name="connsiteX18" fmla="*/ 1739900 w 4570627"/>
                <a:gd name="connsiteY18" fmla="*/ 647700 h 4998172"/>
                <a:gd name="connsiteX19" fmla="*/ 1746250 w 4570627"/>
                <a:gd name="connsiteY19" fmla="*/ 596900 h 4998172"/>
                <a:gd name="connsiteX20" fmla="*/ 1689100 w 4570627"/>
                <a:gd name="connsiteY20" fmla="*/ 565150 h 4998172"/>
                <a:gd name="connsiteX21" fmla="*/ 1638300 w 4570627"/>
                <a:gd name="connsiteY21" fmla="*/ 520700 h 4998172"/>
                <a:gd name="connsiteX22" fmla="*/ 1625600 w 4570627"/>
                <a:gd name="connsiteY22" fmla="*/ 469900 h 4998172"/>
                <a:gd name="connsiteX23" fmla="*/ 1778000 w 4570627"/>
                <a:gd name="connsiteY23" fmla="*/ 412750 h 4998172"/>
                <a:gd name="connsiteX24" fmla="*/ 1879600 w 4570627"/>
                <a:gd name="connsiteY24" fmla="*/ 425450 h 4998172"/>
                <a:gd name="connsiteX25" fmla="*/ 1873250 w 4570627"/>
                <a:gd name="connsiteY25" fmla="*/ 488950 h 4998172"/>
                <a:gd name="connsiteX26" fmla="*/ 1981200 w 4570627"/>
                <a:gd name="connsiteY26" fmla="*/ 482600 h 4998172"/>
                <a:gd name="connsiteX27" fmla="*/ 2006600 w 4570627"/>
                <a:gd name="connsiteY27" fmla="*/ 482600 h 4998172"/>
                <a:gd name="connsiteX28" fmla="*/ 2032000 w 4570627"/>
                <a:gd name="connsiteY28" fmla="*/ 584200 h 4998172"/>
                <a:gd name="connsiteX29" fmla="*/ 2133600 w 4570627"/>
                <a:gd name="connsiteY29" fmla="*/ 596900 h 4998172"/>
                <a:gd name="connsiteX30" fmla="*/ 2171700 w 4570627"/>
                <a:gd name="connsiteY30" fmla="*/ 463550 h 4998172"/>
                <a:gd name="connsiteX31" fmla="*/ 2146300 w 4570627"/>
                <a:gd name="connsiteY31" fmla="*/ 323850 h 4998172"/>
                <a:gd name="connsiteX32" fmla="*/ 2216150 w 4570627"/>
                <a:gd name="connsiteY32" fmla="*/ 241300 h 4998172"/>
                <a:gd name="connsiteX33" fmla="*/ 2279650 w 4570627"/>
                <a:gd name="connsiteY33" fmla="*/ 234950 h 4998172"/>
                <a:gd name="connsiteX34" fmla="*/ 2305050 w 4570627"/>
                <a:gd name="connsiteY34" fmla="*/ 330200 h 4998172"/>
                <a:gd name="connsiteX35" fmla="*/ 2374900 w 4570627"/>
                <a:gd name="connsiteY35" fmla="*/ 393700 h 4998172"/>
                <a:gd name="connsiteX36" fmla="*/ 2381250 w 4570627"/>
                <a:gd name="connsiteY36" fmla="*/ 457200 h 4998172"/>
                <a:gd name="connsiteX37" fmla="*/ 2514600 w 4570627"/>
                <a:gd name="connsiteY37" fmla="*/ 406400 h 4998172"/>
                <a:gd name="connsiteX38" fmla="*/ 2641600 w 4570627"/>
                <a:gd name="connsiteY38" fmla="*/ 381000 h 4998172"/>
                <a:gd name="connsiteX39" fmla="*/ 2686050 w 4570627"/>
                <a:gd name="connsiteY39" fmla="*/ 419100 h 4998172"/>
                <a:gd name="connsiteX40" fmla="*/ 2774950 w 4570627"/>
                <a:gd name="connsiteY40" fmla="*/ 368300 h 4998172"/>
                <a:gd name="connsiteX41" fmla="*/ 2796953 w 4570627"/>
                <a:gd name="connsiteY41" fmla="*/ 370396 h 4998172"/>
                <a:gd name="connsiteX42" fmla="*/ 2787650 w 4570627"/>
                <a:gd name="connsiteY42" fmla="*/ 349252 h 4998172"/>
                <a:gd name="connsiteX43" fmla="*/ 2857500 w 4570627"/>
                <a:gd name="connsiteY43" fmla="*/ 508001 h 4998172"/>
                <a:gd name="connsiteX44" fmla="*/ 2971800 w 4570627"/>
                <a:gd name="connsiteY44" fmla="*/ 533401 h 4998172"/>
                <a:gd name="connsiteX45" fmla="*/ 3054350 w 4570627"/>
                <a:gd name="connsiteY45" fmla="*/ 552451 h 4998172"/>
                <a:gd name="connsiteX46" fmla="*/ 3093057 w 4570627"/>
                <a:gd name="connsiteY46" fmla="*/ 707281 h 4998172"/>
                <a:gd name="connsiteX47" fmla="*/ 3011086 w 4570627"/>
                <a:gd name="connsiteY47" fmla="*/ 588423 h 4998172"/>
                <a:gd name="connsiteX48" fmla="*/ 2924805 w 4570627"/>
                <a:gd name="connsiteY48" fmla="*/ 674704 h 4998172"/>
                <a:gd name="connsiteX49" fmla="*/ 3026774 w 4570627"/>
                <a:gd name="connsiteY49" fmla="*/ 784516 h 4998172"/>
                <a:gd name="connsiteX50" fmla="*/ 3050305 w 4570627"/>
                <a:gd name="connsiteY50" fmla="*/ 957078 h 4998172"/>
                <a:gd name="connsiteX51" fmla="*/ 3348367 w 4570627"/>
                <a:gd name="connsiteY51" fmla="*/ 1129641 h 4998172"/>
                <a:gd name="connsiteX52" fmla="*/ 3411117 w 4570627"/>
                <a:gd name="connsiteY52" fmla="*/ 1239453 h 4998172"/>
                <a:gd name="connsiteX53" fmla="*/ 3262086 w 4570627"/>
                <a:gd name="connsiteY53" fmla="*/ 1419859 h 4998172"/>
                <a:gd name="connsiteX54" fmla="*/ 3395429 w 4570627"/>
                <a:gd name="connsiteY54" fmla="*/ 1663015 h 4998172"/>
                <a:gd name="connsiteX55" fmla="*/ 3489554 w 4570627"/>
                <a:gd name="connsiteY55" fmla="*/ 1945389 h 4998172"/>
                <a:gd name="connsiteX56" fmla="*/ 3638585 w 4570627"/>
                <a:gd name="connsiteY56" fmla="*/ 2110108 h 4998172"/>
                <a:gd name="connsiteX57" fmla="*/ 3756241 w 4570627"/>
                <a:gd name="connsiteY57" fmla="*/ 2015983 h 4998172"/>
                <a:gd name="connsiteX58" fmla="*/ 3905271 w 4570627"/>
                <a:gd name="connsiteY58" fmla="*/ 2259139 h 4998172"/>
                <a:gd name="connsiteX59" fmla="*/ 4007240 w 4570627"/>
                <a:gd name="connsiteY59" fmla="*/ 2376795 h 4998172"/>
                <a:gd name="connsiteX60" fmla="*/ 4124896 w 4570627"/>
                <a:gd name="connsiteY60" fmla="*/ 2376795 h 4998172"/>
                <a:gd name="connsiteX61" fmla="*/ 4328833 w 4570627"/>
                <a:gd name="connsiteY61" fmla="*/ 2659169 h 4998172"/>
                <a:gd name="connsiteX62" fmla="*/ 4446489 w 4570627"/>
                <a:gd name="connsiteY62" fmla="*/ 2643482 h 4998172"/>
                <a:gd name="connsiteX63" fmla="*/ 4564145 w 4570627"/>
                <a:gd name="connsiteY63" fmla="*/ 2768982 h 4998172"/>
                <a:gd name="connsiteX64" fmla="*/ 4570627 w 4570627"/>
                <a:gd name="connsiteY64" fmla="*/ 2778982 h 4998172"/>
                <a:gd name="connsiteX65" fmla="*/ 4493946 w 4570627"/>
                <a:gd name="connsiteY65" fmla="*/ 3147050 h 4998172"/>
                <a:gd name="connsiteX66" fmla="*/ 4274322 w 4570627"/>
                <a:gd name="connsiteY66" fmla="*/ 3162737 h 4998172"/>
                <a:gd name="connsiteX67" fmla="*/ 4180197 w 4570627"/>
                <a:gd name="connsiteY67" fmla="*/ 3492174 h 4998172"/>
                <a:gd name="connsiteX68" fmla="*/ 3819386 w 4570627"/>
                <a:gd name="connsiteY68" fmla="*/ 3617674 h 4998172"/>
                <a:gd name="connsiteX69" fmla="*/ 3552699 w 4570627"/>
                <a:gd name="connsiteY69" fmla="*/ 3774549 h 4998172"/>
                <a:gd name="connsiteX70" fmla="*/ 3552699 w 4570627"/>
                <a:gd name="connsiteY70" fmla="*/ 3884361 h 4998172"/>
                <a:gd name="connsiteX71" fmla="*/ 3788011 w 4570627"/>
                <a:gd name="connsiteY71" fmla="*/ 4088298 h 4998172"/>
                <a:gd name="connsiteX72" fmla="*/ 3772323 w 4570627"/>
                <a:gd name="connsiteY72" fmla="*/ 4307923 h 4998172"/>
                <a:gd name="connsiteX73" fmla="*/ 3866448 w 4570627"/>
                <a:gd name="connsiteY73" fmla="*/ 4417735 h 4998172"/>
                <a:gd name="connsiteX74" fmla="*/ 3897823 w 4570627"/>
                <a:gd name="connsiteY74" fmla="*/ 4653048 h 4998172"/>
                <a:gd name="connsiteX75" fmla="*/ 3819386 w 4570627"/>
                <a:gd name="connsiteY75" fmla="*/ 4762860 h 4998172"/>
                <a:gd name="connsiteX76" fmla="*/ 3662511 w 4570627"/>
                <a:gd name="connsiteY76" fmla="*/ 4684422 h 4998172"/>
                <a:gd name="connsiteX77" fmla="*/ 3615449 w 4570627"/>
                <a:gd name="connsiteY77" fmla="*/ 4605985 h 4998172"/>
                <a:gd name="connsiteX78" fmla="*/ 3615449 w 4570627"/>
                <a:gd name="connsiteY78" fmla="*/ 4464798 h 4998172"/>
                <a:gd name="connsiteX79" fmla="*/ 3458574 w 4570627"/>
                <a:gd name="connsiteY79" fmla="*/ 4402048 h 4998172"/>
                <a:gd name="connsiteX80" fmla="*/ 3395824 w 4570627"/>
                <a:gd name="connsiteY80" fmla="*/ 4527548 h 4998172"/>
                <a:gd name="connsiteX81" fmla="*/ 3160513 w 4570627"/>
                <a:gd name="connsiteY81" fmla="*/ 4449110 h 4998172"/>
                <a:gd name="connsiteX82" fmla="*/ 3144825 w 4570627"/>
                <a:gd name="connsiteY82" fmla="*/ 4386360 h 4998172"/>
                <a:gd name="connsiteX83" fmla="*/ 2940888 w 4570627"/>
                <a:gd name="connsiteY83" fmla="*/ 4464798 h 4998172"/>
                <a:gd name="connsiteX84" fmla="*/ 2831076 w 4570627"/>
                <a:gd name="connsiteY84" fmla="*/ 4574610 h 4998172"/>
                <a:gd name="connsiteX85" fmla="*/ 2564389 w 4570627"/>
                <a:gd name="connsiteY85" fmla="*/ 4605985 h 4998172"/>
                <a:gd name="connsiteX86" fmla="*/ 2329077 w 4570627"/>
                <a:gd name="connsiteY86" fmla="*/ 4621673 h 4998172"/>
                <a:gd name="connsiteX87" fmla="*/ 2125140 w 4570627"/>
                <a:gd name="connsiteY87" fmla="*/ 4809922 h 4998172"/>
                <a:gd name="connsiteX88" fmla="*/ 1936891 w 4570627"/>
                <a:gd name="connsiteY88" fmla="*/ 4856985 h 4998172"/>
                <a:gd name="connsiteX89" fmla="*/ 1717266 w 4570627"/>
                <a:gd name="connsiteY89" fmla="*/ 4747172 h 4998172"/>
                <a:gd name="connsiteX90" fmla="*/ 1701579 w 4570627"/>
                <a:gd name="connsiteY90" fmla="*/ 4621673 h 4998172"/>
                <a:gd name="connsiteX91" fmla="*/ 1576079 w 4570627"/>
                <a:gd name="connsiteY91" fmla="*/ 4574610 h 4998172"/>
                <a:gd name="connsiteX92" fmla="*/ 1419205 w 4570627"/>
                <a:gd name="connsiteY92" fmla="*/ 4574610 h 4998172"/>
                <a:gd name="connsiteX93" fmla="*/ 1340768 w 4570627"/>
                <a:gd name="connsiteY93" fmla="*/ 4668735 h 4998172"/>
                <a:gd name="connsiteX94" fmla="*/ 1309393 w 4570627"/>
                <a:gd name="connsiteY94" fmla="*/ 4825610 h 4998172"/>
                <a:gd name="connsiteX95" fmla="*/ 1246643 w 4570627"/>
                <a:gd name="connsiteY95" fmla="*/ 4919735 h 4998172"/>
                <a:gd name="connsiteX96" fmla="*/ 1152518 w 4570627"/>
                <a:gd name="connsiteY96" fmla="*/ 4998172 h 4998172"/>
                <a:gd name="connsiteX97" fmla="*/ 964268 w 4570627"/>
                <a:gd name="connsiteY97" fmla="*/ 4951110 h 4998172"/>
                <a:gd name="connsiteX98" fmla="*/ 948581 w 4570627"/>
                <a:gd name="connsiteY98" fmla="*/ 4684422 h 4998172"/>
                <a:gd name="connsiteX99" fmla="*/ 807394 w 4570627"/>
                <a:gd name="connsiteY99" fmla="*/ 4590298 h 4998172"/>
                <a:gd name="connsiteX100" fmla="*/ 773692 w 4570627"/>
                <a:gd name="connsiteY100" fmla="*/ 4590298 h 4998172"/>
                <a:gd name="connsiteX101" fmla="*/ 802640 w 4570627"/>
                <a:gd name="connsiteY101" fmla="*/ 4538980 h 4998172"/>
                <a:gd name="connsiteX102" fmla="*/ 894080 w 4570627"/>
                <a:gd name="connsiteY102" fmla="*/ 4439920 h 4998172"/>
                <a:gd name="connsiteX103" fmla="*/ 1122680 w 4570627"/>
                <a:gd name="connsiteY103" fmla="*/ 4470400 h 4998172"/>
                <a:gd name="connsiteX104" fmla="*/ 1168400 w 4570627"/>
                <a:gd name="connsiteY104" fmla="*/ 4401820 h 4998172"/>
                <a:gd name="connsiteX105" fmla="*/ 1122680 w 4570627"/>
                <a:gd name="connsiteY105" fmla="*/ 4272280 h 4998172"/>
                <a:gd name="connsiteX106" fmla="*/ 1160780 w 4570627"/>
                <a:gd name="connsiteY106" fmla="*/ 4218940 h 4998172"/>
                <a:gd name="connsiteX107" fmla="*/ 1130300 w 4570627"/>
                <a:gd name="connsiteY107" fmla="*/ 4127500 h 4998172"/>
                <a:gd name="connsiteX108" fmla="*/ 1160780 w 4570627"/>
                <a:gd name="connsiteY108" fmla="*/ 3807460 h 4998172"/>
                <a:gd name="connsiteX109" fmla="*/ 1038860 w 4570627"/>
                <a:gd name="connsiteY109" fmla="*/ 3395980 h 4998172"/>
                <a:gd name="connsiteX110" fmla="*/ 1130300 w 4570627"/>
                <a:gd name="connsiteY110" fmla="*/ 3235960 h 4998172"/>
                <a:gd name="connsiteX111" fmla="*/ 1183640 w 4570627"/>
                <a:gd name="connsiteY111" fmla="*/ 3274060 h 4998172"/>
                <a:gd name="connsiteX112" fmla="*/ 1336040 w 4570627"/>
                <a:gd name="connsiteY112" fmla="*/ 3175000 h 4998172"/>
                <a:gd name="connsiteX113" fmla="*/ 1351280 w 4570627"/>
                <a:gd name="connsiteY113" fmla="*/ 3045460 h 4998172"/>
                <a:gd name="connsiteX114" fmla="*/ 1290320 w 4570627"/>
                <a:gd name="connsiteY114" fmla="*/ 2969260 h 4998172"/>
                <a:gd name="connsiteX115" fmla="*/ 1290320 w 4570627"/>
                <a:gd name="connsiteY115" fmla="*/ 2923540 h 4998172"/>
                <a:gd name="connsiteX116" fmla="*/ 1366520 w 4570627"/>
                <a:gd name="connsiteY116" fmla="*/ 2923540 h 4998172"/>
                <a:gd name="connsiteX117" fmla="*/ 1389380 w 4570627"/>
                <a:gd name="connsiteY117" fmla="*/ 2969260 h 4998172"/>
                <a:gd name="connsiteX118" fmla="*/ 1518920 w 4570627"/>
                <a:gd name="connsiteY118" fmla="*/ 2938780 h 4998172"/>
                <a:gd name="connsiteX119" fmla="*/ 1503680 w 4570627"/>
                <a:gd name="connsiteY119" fmla="*/ 2847340 h 4998172"/>
                <a:gd name="connsiteX120" fmla="*/ 1450340 w 4570627"/>
                <a:gd name="connsiteY120" fmla="*/ 2786380 h 4998172"/>
                <a:gd name="connsiteX121" fmla="*/ 1488440 w 4570627"/>
                <a:gd name="connsiteY121" fmla="*/ 2573020 h 4998172"/>
                <a:gd name="connsiteX122" fmla="*/ 1389380 w 4570627"/>
                <a:gd name="connsiteY122" fmla="*/ 2420620 h 4998172"/>
                <a:gd name="connsiteX123" fmla="*/ 1297940 w 4570627"/>
                <a:gd name="connsiteY123" fmla="*/ 2405380 h 4998172"/>
                <a:gd name="connsiteX124" fmla="*/ 1244600 w 4570627"/>
                <a:gd name="connsiteY124" fmla="*/ 2306320 h 4998172"/>
                <a:gd name="connsiteX125" fmla="*/ 1282700 w 4570627"/>
                <a:gd name="connsiteY125" fmla="*/ 2252980 h 4998172"/>
                <a:gd name="connsiteX126" fmla="*/ 1183640 w 4570627"/>
                <a:gd name="connsiteY126" fmla="*/ 2146300 h 4998172"/>
                <a:gd name="connsiteX127" fmla="*/ 1168400 w 4570627"/>
                <a:gd name="connsiteY127" fmla="*/ 2047240 h 4998172"/>
                <a:gd name="connsiteX128" fmla="*/ 1183640 w 4570627"/>
                <a:gd name="connsiteY128" fmla="*/ 2016760 h 4998172"/>
                <a:gd name="connsiteX129" fmla="*/ 1153160 w 4570627"/>
                <a:gd name="connsiteY129" fmla="*/ 1887220 h 4998172"/>
                <a:gd name="connsiteX130" fmla="*/ 1176020 w 4570627"/>
                <a:gd name="connsiteY130" fmla="*/ 1871980 h 4998172"/>
                <a:gd name="connsiteX131" fmla="*/ 1145540 w 4570627"/>
                <a:gd name="connsiteY131" fmla="*/ 1658620 h 4998172"/>
                <a:gd name="connsiteX132" fmla="*/ 1099820 w 4570627"/>
                <a:gd name="connsiteY132" fmla="*/ 1620520 h 4998172"/>
                <a:gd name="connsiteX133" fmla="*/ 1076960 w 4570627"/>
                <a:gd name="connsiteY133" fmla="*/ 1643380 h 4998172"/>
                <a:gd name="connsiteX134" fmla="*/ 1069340 w 4570627"/>
                <a:gd name="connsiteY134" fmla="*/ 1711960 h 4998172"/>
                <a:gd name="connsiteX135" fmla="*/ 970280 w 4570627"/>
                <a:gd name="connsiteY135" fmla="*/ 1719580 h 4998172"/>
                <a:gd name="connsiteX136" fmla="*/ 932180 w 4570627"/>
                <a:gd name="connsiteY136" fmla="*/ 1574800 h 4998172"/>
                <a:gd name="connsiteX137" fmla="*/ 871220 w 4570627"/>
                <a:gd name="connsiteY137" fmla="*/ 1620520 h 4998172"/>
                <a:gd name="connsiteX138" fmla="*/ 855980 w 4570627"/>
                <a:gd name="connsiteY138" fmla="*/ 1574800 h 4998172"/>
                <a:gd name="connsiteX139" fmla="*/ 924560 w 4570627"/>
                <a:gd name="connsiteY139" fmla="*/ 1513840 h 4998172"/>
                <a:gd name="connsiteX140" fmla="*/ 855980 w 4570627"/>
                <a:gd name="connsiteY140" fmla="*/ 1384300 h 4998172"/>
                <a:gd name="connsiteX141" fmla="*/ 825500 w 4570627"/>
                <a:gd name="connsiteY141" fmla="*/ 1330960 h 4998172"/>
                <a:gd name="connsiteX142" fmla="*/ 787400 w 4570627"/>
                <a:gd name="connsiteY142" fmla="*/ 1430020 h 4998172"/>
                <a:gd name="connsiteX143" fmla="*/ 772160 w 4570627"/>
                <a:gd name="connsiteY143" fmla="*/ 1369060 h 4998172"/>
                <a:gd name="connsiteX144" fmla="*/ 688340 w 4570627"/>
                <a:gd name="connsiteY144" fmla="*/ 1422400 h 4998172"/>
                <a:gd name="connsiteX145" fmla="*/ 695960 w 4570627"/>
                <a:gd name="connsiteY145" fmla="*/ 1277620 h 4998172"/>
                <a:gd name="connsiteX146" fmla="*/ 497840 w 4570627"/>
                <a:gd name="connsiteY146" fmla="*/ 1262380 h 4998172"/>
                <a:gd name="connsiteX147" fmla="*/ 353060 w 4570627"/>
                <a:gd name="connsiteY147" fmla="*/ 1315720 h 4998172"/>
                <a:gd name="connsiteX148" fmla="*/ 467360 w 4570627"/>
                <a:gd name="connsiteY148" fmla="*/ 1376680 h 4998172"/>
                <a:gd name="connsiteX149" fmla="*/ 474980 w 4570627"/>
                <a:gd name="connsiteY149" fmla="*/ 1452880 h 4998172"/>
                <a:gd name="connsiteX150" fmla="*/ 391160 w 4570627"/>
                <a:gd name="connsiteY150" fmla="*/ 1452880 h 4998172"/>
                <a:gd name="connsiteX151" fmla="*/ 360680 w 4570627"/>
                <a:gd name="connsiteY151" fmla="*/ 1551940 h 4998172"/>
                <a:gd name="connsiteX152" fmla="*/ 132080 w 4570627"/>
                <a:gd name="connsiteY152" fmla="*/ 1567180 h 4998172"/>
                <a:gd name="connsiteX153" fmla="*/ 69850 w 4570627"/>
                <a:gd name="connsiteY153" fmla="*/ 1533991 h 4998172"/>
                <a:gd name="connsiteX154" fmla="*/ 69850 w 4570627"/>
                <a:gd name="connsiteY154" fmla="*/ 1435100 h 4998172"/>
                <a:gd name="connsiteX155" fmla="*/ 146050 w 4570627"/>
                <a:gd name="connsiteY155" fmla="*/ 1295400 h 4998172"/>
                <a:gd name="connsiteX156" fmla="*/ 82550 w 4570627"/>
                <a:gd name="connsiteY156" fmla="*/ 1193800 h 4998172"/>
                <a:gd name="connsiteX157" fmla="*/ 25400 w 4570627"/>
                <a:gd name="connsiteY157" fmla="*/ 1168400 h 4998172"/>
                <a:gd name="connsiteX158" fmla="*/ 31750 w 4570627"/>
                <a:gd name="connsiteY158" fmla="*/ 952500 h 4998172"/>
                <a:gd name="connsiteX159" fmla="*/ 0 w 4570627"/>
                <a:gd name="connsiteY159" fmla="*/ 876300 h 4998172"/>
                <a:gd name="connsiteX160" fmla="*/ 0 w 4570627"/>
                <a:gd name="connsiteY160" fmla="*/ 774700 h 4998172"/>
                <a:gd name="connsiteX161" fmla="*/ 107950 w 4570627"/>
                <a:gd name="connsiteY161" fmla="*/ 755650 h 4998172"/>
                <a:gd name="connsiteX162" fmla="*/ 127000 w 4570627"/>
                <a:gd name="connsiteY162" fmla="*/ 806450 h 4998172"/>
                <a:gd name="connsiteX163" fmla="*/ 215900 w 4570627"/>
                <a:gd name="connsiteY163" fmla="*/ 749300 h 4998172"/>
                <a:gd name="connsiteX164" fmla="*/ 368300 w 4570627"/>
                <a:gd name="connsiteY164" fmla="*/ 749300 h 4998172"/>
                <a:gd name="connsiteX165" fmla="*/ 368300 w 4570627"/>
                <a:gd name="connsiteY165" fmla="*/ 800100 h 4998172"/>
                <a:gd name="connsiteX166" fmla="*/ 495300 w 4570627"/>
                <a:gd name="connsiteY166" fmla="*/ 800100 h 4998172"/>
                <a:gd name="connsiteX167" fmla="*/ 488950 w 4570627"/>
                <a:gd name="connsiteY167" fmla="*/ 711200 h 4998172"/>
                <a:gd name="connsiteX168" fmla="*/ 488950 w 4570627"/>
                <a:gd name="connsiteY168" fmla="*/ 603250 h 4998172"/>
                <a:gd name="connsiteX169" fmla="*/ 596900 w 4570627"/>
                <a:gd name="connsiteY169" fmla="*/ 615950 h 4998172"/>
                <a:gd name="connsiteX170" fmla="*/ 679450 w 4570627"/>
                <a:gd name="connsiteY170" fmla="*/ 514350 h 4998172"/>
                <a:gd name="connsiteX171" fmla="*/ 717550 w 4570627"/>
                <a:gd name="connsiteY171" fmla="*/ 311150 h 4998172"/>
                <a:gd name="connsiteX172" fmla="*/ 812800 w 4570627"/>
                <a:gd name="connsiteY172" fmla="*/ 361950 h 4998172"/>
                <a:gd name="connsiteX173" fmla="*/ 952500 w 4570627"/>
                <a:gd name="connsiteY173" fmla="*/ 266700 h 4998172"/>
                <a:gd name="connsiteX174" fmla="*/ 979517 w 4570627"/>
                <a:gd name="connsiteY174" fmla="*/ 226177 h 4998172"/>
                <a:gd name="connsiteX175" fmla="*/ 977900 w 4570627"/>
                <a:gd name="connsiteY175" fmla="*/ 273050 h 4998172"/>
                <a:gd name="connsiteX176" fmla="*/ 1060450 w 4570627"/>
                <a:gd name="connsiteY176" fmla="*/ 177800 h 4998172"/>
                <a:gd name="connsiteX177" fmla="*/ 812800 w 4570627"/>
                <a:gd name="connsiteY177" fmla="*/ 12701 h 4998172"/>
                <a:gd name="connsiteX178" fmla="*/ 812801 w 4570627"/>
                <a:gd name="connsiteY178" fmla="*/ 12701 h 4998172"/>
                <a:gd name="connsiteX179" fmla="*/ 869950 w 4570627"/>
                <a:gd name="connsiteY179" fmla="*/ 69850 h 4998172"/>
                <a:gd name="connsiteX180" fmla="*/ 920750 w 4570627"/>
                <a:gd name="connsiteY180" fmla="*/ 57150 h 4998172"/>
                <a:gd name="connsiteX181" fmla="*/ 920750 w 4570627"/>
                <a:gd name="connsiteY181" fmla="*/ 57151 h 4998172"/>
                <a:gd name="connsiteX182" fmla="*/ 869950 w 4570627"/>
                <a:gd name="connsiteY182" fmla="*/ 69851 h 4998172"/>
                <a:gd name="connsiteX183" fmla="*/ 812800 w 4570627"/>
                <a:gd name="connsiteY183" fmla="*/ 12701 h 4998172"/>
                <a:gd name="connsiteX184" fmla="*/ 984250 w 4570627"/>
                <a:gd name="connsiteY184" fmla="*/ 0 h 4998172"/>
                <a:gd name="connsiteX185" fmla="*/ 1022350 w 4570627"/>
                <a:gd name="connsiteY185" fmla="*/ 50800 h 4998172"/>
                <a:gd name="connsiteX186" fmla="*/ 1022350 w 4570627"/>
                <a:gd name="connsiteY186" fmla="*/ 50801 h 4998172"/>
                <a:gd name="connsiteX187" fmla="*/ 984250 w 4570627"/>
                <a:gd name="connsiteY187" fmla="*/ 1 h 4998172"/>
                <a:gd name="connsiteX188" fmla="*/ 908051 w 4570627"/>
                <a:gd name="connsiteY188" fmla="*/ 6351 h 4998172"/>
                <a:gd name="connsiteX189" fmla="*/ 908050 w 4570627"/>
                <a:gd name="connsiteY189" fmla="*/ 6350 h 4998172"/>
                <a:gd name="connsiteX190" fmla="*/ 984250 w 4570627"/>
                <a:gd name="connsiteY190" fmla="*/ 0 h 4998172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2844800 w 4570627"/>
                <a:gd name="connsiteY5" fmla="*/ 279401 h 4998172"/>
                <a:gd name="connsiteX6" fmla="*/ 2749551 w 4570627"/>
                <a:gd name="connsiteY6" fmla="*/ 196852 h 4998172"/>
                <a:gd name="connsiteX7" fmla="*/ 2844800 w 4570627"/>
                <a:gd name="connsiteY7" fmla="*/ 279401 h 4998172"/>
                <a:gd name="connsiteX8" fmla="*/ 1060450 w 4570627"/>
                <a:gd name="connsiteY8" fmla="*/ 177800 h 4998172"/>
                <a:gd name="connsiteX9" fmla="*/ 1149350 w 4570627"/>
                <a:gd name="connsiteY9" fmla="*/ 215900 h 4998172"/>
                <a:gd name="connsiteX10" fmla="*/ 1263650 w 4570627"/>
                <a:gd name="connsiteY10" fmla="*/ 292100 h 4998172"/>
                <a:gd name="connsiteX11" fmla="*/ 1320800 w 4570627"/>
                <a:gd name="connsiteY11" fmla="*/ 412750 h 4998172"/>
                <a:gd name="connsiteX12" fmla="*/ 1371600 w 4570627"/>
                <a:gd name="connsiteY12" fmla="*/ 393700 h 4998172"/>
                <a:gd name="connsiteX13" fmla="*/ 1479550 w 4570627"/>
                <a:gd name="connsiteY13" fmla="*/ 501650 h 4998172"/>
                <a:gd name="connsiteX14" fmla="*/ 1530350 w 4570627"/>
                <a:gd name="connsiteY14" fmla="*/ 666750 h 4998172"/>
                <a:gd name="connsiteX15" fmla="*/ 1612900 w 4570627"/>
                <a:gd name="connsiteY15" fmla="*/ 711200 h 4998172"/>
                <a:gd name="connsiteX16" fmla="*/ 1638300 w 4570627"/>
                <a:gd name="connsiteY16" fmla="*/ 641350 h 4998172"/>
                <a:gd name="connsiteX17" fmla="*/ 1739900 w 4570627"/>
                <a:gd name="connsiteY17" fmla="*/ 647700 h 4998172"/>
                <a:gd name="connsiteX18" fmla="*/ 1746250 w 4570627"/>
                <a:gd name="connsiteY18" fmla="*/ 596900 h 4998172"/>
                <a:gd name="connsiteX19" fmla="*/ 1689100 w 4570627"/>
                <a:gd name="connsiteY19" fmla="*/ 565150 h 4998172"/>
                <a:gd name="connsiteX20" fmla="*/ 1638300 w 4570627"/>
                <a:gd name="connsiteY20" fmla="*/ 520700 h 4998172"/>
                <a:gd name="connsiteX21" fmla="*/ 1625600 w 4570627"/>
                <a:gd name="connsiteY21" fmla="*/ 469900 h 4998172"/>
                <a:gd name="connsiteX22" fmla="*/ 1778000 w 4570627"/>
                <a:gd name="connsiteY22" fmla="*/ 412750 h 4998172"/>
                <a:gd name="connsiteX23" fmla="*/ 1879600 w 4570627"/>
                <a:gd name="connsiteY23" fmla="*/ 425450 h 4998172"/>
                <a:gd name="connsiteX24" fmla="*/ 1873250 w 4570627"/>
                <a:gd name="connsiteY24" fmla="*/ 488950 h 4998172"/>
                <a:gd name="connsiteX25" fmla="*/ 1981200 w 4570627"/>
                <a:gd name="connsiteY25" fmla="*/ 482600 h 4998172"/>
                <a:gd name="connsiteX26" fmla="*/ 2006600 w 4570627"/>
                <a:gd name="connsiteY26" fmla="*/ 482600 h 4998172"/>
                <a:gd name="connsiteX27" fmla="*/ 2032000 w 4570627"/>
                <a:gd name="connsiteY27" fmla="*/ 584200 h 4998172"/>
                <a:gd name="connsiteX28" fmla="*/ 2133600 w 4570627"/>
                <a:gd name="connsiteY28" fmla="*/ 596900 h 4998172"/>
                <a:gd name="connsiteX29" fmla="*/ 2171700 w 4570627"/>
                <a:gd name="connsiteY29" fmla="*/ 463550 h 4998172"/>
                <a:gd name="connsiteX30" fmla="*/ 2146300 w 4570627"/>
                <a:gd name="connsiteY30" fmla="*/ 323850 h 4998172"/>
                <a:gd name="connsiteX31" fmla="*/ 2216150 w 4570627"/>
                <a:gd name="connsiteY31" fmla="*/ 241300 h 4998172"/>
                <a:gd name="connsiteX32" fmla="*/ 2279650 w 4570627"/>
                <a:gd name="connsiteY32" fmla="*/ 234950 h 4998172"/>
                <a:gd name="connsiteX33" fmla="*/ 2305050 w 4570627"/>
                <a:gd name="connsiteY33" fmla="*/ 330200 h 4998172"/>
                <a:gd name="connsiteX34" fmla="*/ 2374900 w 4570627"/>
                <a:gd name="connsiteY34" fmla="*/ 393700 h 4998172"/>
                <a:gd name="connsiteX35" fmla="*/ 2381250 w 4570627"/>
                <a:gd name="connsiteY35" fmla="*/ 457200 h 4998172"/>
                <a:gd name="connsiteX36" fmla="*/ 2514600 w 4570627"/>
                <a:gd name="connsiteY36" fmla="*/ 406400 h 4998172"/>
                <a:gd name="connsiteX37" fmla="*/ 2641600 w 4570627"/>
                <a:gd name="connsiteY37" fmla="*/ 381000 h 4998172"/>
                <a:gd name="connsiteX38" fmla="*/ 2686050 w 4570627"/>
                <a:gd name="connsiteY38" fmla="*/ 419100 h 4998172"/>
                <a:gd name="connsiteX39" fmla="*/ 2774950 w 4570627"/>
                <a:gd name="connsiteY39" fmla="*/ 368300 h 4998172"/>
                <a:gd name="connsiteX40" fmla="*/ 2796953 w 4570627"/>
                <a:gd name="connsiteY40" fmla="*/ 370396 h 4998172"/>
                <a:gd name="connsiteX41" fmla="*/ 2787650 w 4570627"/>
                <a:gd name="connsiteY41" fmla="*/ 349252 h 4998172"/>
                <a:gd name="connsiteX42" fmla="*/ 2857500 w 4570627"/>
                <a:gd name="connsiteY42" fmla="*/ 508001 h 4998172"/>
                <a:gd name="connsiteX43" fmla="*/ 2971800 w 4570627"/>
                <a:gd name="connsiteY43" fmla="*/ 533401 h 4998172"/>
                <a:gd name="connsiteX44" fmla="*/ 3054350 w 4570627"/>
                <a:gd name="connsiteY44" fmla="*/ 552451 h 4998172"/>
                <a:gd name="connsiteX45" fmla="*/ 3093057 w 4570627"/>
                <a:gd name="connsiteY45" fmla="*/ 707281 h 4998172"/>
                <a:gd name="connsiteX46" fmla="*/ 3011086 w 4570627"/>
                <a:gd name="connsiteY46" fmla="*/ 588423 h 4998172"/>
                <a:gd name="connsiteX47" fmla="*/ 2924805 w 4570627"/>
                <a:gd name="connsiteY47" fmla="*/ 674704 h 4998172"/>
                <a:gd name="connsiteX48" fmla="*/ 3026774 w 4570627"/>
                <a:gd name="connsiteY48" fmla="*/ 784516 h 4998172"/>
                <a:gd name="connsiteX49" fmla="*/ 3050305 w 4570627"/>
                <a:gd name="connsiteY49" fmla="*/ 957078 h 4998172"/>
                <a:gd name="connsiteX50" fmla="*/ 3348367 w 4570627"/>
                <a:gd name="connsiteY50" fmla="*/ 1129641 h 4998172"/>
                <a:gd name="connsiteX51" fmla="*/ 3411117 w 4570627"/>
                <a:gd name="connsiteY51" fmla="*/ 1239453 h 4998172"/>
                <a:gd name="connsiteX52" fmla="*/ 3262086 w 4570627"/>
                <a:gd name="connsiteY52" fmla="*/ 1419859 h 4998172"/>
                <a:gd name="connsiteX53" fmla="*/ 3395429 w 4570627"/>
                <a:gd name="connsiteY53" fmla="*/ 1663015 h 4998172"/>
                <a:gd name="connsiteX54" fmla="*/ 3489554 w 4570627"/>
                <a:gd name="connsiteY54" fmla="*/ 1945389 h 4998172"/>
                <a:gd name="connsiteX55" fmla="*/ 3638585 w 4570627"/>
                <a:gd name="connsiteY55" fmla="*/ 2110108 h 4998172"/>
                <a:gd name="connsiteX56" fmla="*/ 3756241 w 4570627"/>
                <a:gd name="connsiteY56" fmla="*/ 2015983 h 4998172"/>
                <a:gd name="connsiteX57" fmla="*/ 3905271 w 4570627"/>
                <a:gd name="connsiteY57" fmla="*/ 2259139 h 4998172"/>
                <a:gd name="connsiteX58" fmla="*/ 4007240 w 4570627"/>
                <a:gd name="connsiteY58" fmla="*/ 2376795 h 4998172"/>
                <a:gd name="connsiteX59" fmla="*/ 4124896 w 4570627"/>
                <a:gd name="connsiteY59" fmla="*/ 2376795 h 4998172"/>
                <a:gd name="connsiteX60" fmla="*/ 4328833 w 4570627"/>
                <a:gd name="connsiteY60" fmla="*/ 2659169 h 4998172"/>
                <a:gd name="connsiteX61" fmla="*/ 4446489 w 4570627"/>
                <a:gd name="connsiteY61" fmla="*/ 2643482 h 4998172"/>
                <a:gd name="connsiteX62" fmla="*/ 4564145 w 4570627"/>
                <a:gd name="connsiteY62" fmla="*/ 2768982 h 4998172"/>
                <a:gd name="connsiteX63" fmla="*/ 4570627 w 4570627"/>
                <a:gd name="connsiteY63" fmla="*/ 2778982 h 4998172"/>
                <a:gd name="connsiteX64" fmla="*/ 4493946 w 4570627"/>
                <a:gd name="connsiteY64" fmla="*/ 3147050 h 4998172"/>
                <a:gd name="connsiteX65" fmla="*/ 4274322 w 4570627"/>
                <a:gd name="connsiteY65" fmla="*/ 3162737 h 4998172"/>
                <a:gd name="connsiteX66" fmla="*/ 4180197 w 4570627"/>
                <a:gd name="connsiteY66" fmla="*/ 3492174 h 4998172"/>
                <a:gd name="connsiteX67" fmla="*/ 3819386 w 4570627"/>
                <a:gd name="connsiteY67" fmla="*/ 3617674 h 4998172"/>
                <a:gd name="connsiteX68" fmla="*/ 3552699 w 4570627"/>
                <a:gd name="connsiteY68" fmla="*/ 3774549 h 4998172"/>
                <a:gd name="connsiteX69" fmla="*/ 3552699 w 4570627"/>
                <a:gd name="connsiteY69" fmla="*/ 3884361 h 4998172"/>
                <a:gd name="connsiteX70" fmla="*/ 3788011 w 4570627"/>
                <a:gd name="connsiteY70" fmla="*/ 4088298 h 4998172"/>
                <a:gd name="connsiteX71" fmla="*/ 3772323 w 4570627"/>
                <a:gd name="connsiteY71" fmla="*/ 4307923 h 4998172"/>
                <a:gd name="connsiteX72" fmla="*/ 3866448 w 4570627"/>
                <a:gd name="connsiteY72" fmla="*/ 4417735 h 4998172"/>
                <a:gd name="connsiteX73" fmla="*/ 3897823 w 4570627"/>
                <a:gd name="connsiteY73" fmla="*/ 4653048 h 4998172"/>
                <a:gd name="connsiteX74" fmla="*/ 3819386 w 4570627"/>
                <a:gd name="connsiteY74" fmla="*/ 4762860 h 4998172"/>
                <a:gd name="connsiteX75" fmla="*/ 3662511 w 4570627"/>
                <a:gd name="connsiteY75" fmla="*/ 4684422 h 4998172"/>
                <a:gd name="connsiteX76" fmla="*/ 3615449 w 4570627"/>
                <a:gd name="connsiteY76" fmla="*/ 4605985 h 4998172"/>
                <a:gd name="connsiteX77" fmla="*/ 3615449 w 4570627"/>
                <a:gd name="connsiteY77" fmla="*/ 4464798 h 4998172"/>
                <a:gd name="connsiteX78" fmla="*/ 3458574 w 4570627"/>
                <a:gd name="connsiteY78" fmla="*/ 4402048 h 4998172"/>
                <a:gd name="connsiteX79" fmla="*/ 3395824 w 4570627"/>
                <a:gd name="connsiteY79" fmla="*/ 4527548 h 4998172"/>
                <a:gd name="connsiteX80" fmla="*/ 3160513 w 4570627"/>
                <a:gd name="connsiteY80" fmla="*/ 4449110 h 4998172"/>
                <a:gd name="connsiteX81" fmla="*/ 3144825 w 4570627"/>
                <a:gd name="connsiteY81" fmla="*/ 4386360 h 4998172"/>
                <a:gd name="connsiteX82" fmla="*/ 2940888 w 4570627"/>
                <a:gd name="connsiteY82" fmla="*/ 4464798 h 4998172"/>
                <a:gd name="connsiteX83" fmla="*/ 2831076 w 4570627"/>
                <a:gd name="connsiteY83" fmla="*/ 4574610 h 4998172"/>
                <a:gd name="connsiteX84" fmla="*/ 2564389 w 4570627"/>
                <a:gd name="connsiteY84" fmla="*/ 4605985 h 4998172"/>
                <a:gd name="connsiteX85" fmla="*/ 2329077 w 4570627"/>
                <a:gd name="connsiteY85" fmla="*/ 4621673 h 4998172"/>
                <a:gd name="connsiteX86" fmla="*/ 2125140 w 4570627"/>
                <a:gd name="connsiteY86" fmla="*/ 4809922 h 4998172"/>
                <a:gd name="connsiteX87" fmla="*/ 1936891 w 4570627"/>
                <a:gd name="connsiteY87" fmla="*/ 4856985 h 4998172"/>
                <a:gd name="connsiteX88" fmla="*/ 1717266 w 4570627"/>
                <a:gd name="connsiteY88" fmla="*/ 4747172 h 4998172"/>
                <a:gd name="connsiteX89" fmla="*/ 1701579 w 4570627"/>
                <a:gd name="connsiteY89" fmla="*/ 4621673 h 4998172"/>
                <a:gd name="connsiteX90" fmla="*/ 1576079 w 4570627"/>
                <a:gd name="connsiteY90" fmla="*/ 4574610 h 4998172"/>
                <a:gd name="connsiteX91" fmla="*/ 1419205 w 4570627"/>
                <a:gd name="connsiteY91" fmla="*/ 4574610 h 4998172"/>
                <a:gd name="connsiteX92" fmla="*/ 1340768 w 4570627"/>
                <a:gd name="connsiteY92" fmla="*/ 4668735 h 4998172"/>
                <a:gd name="connsiteX93" fmla="*/ 1309393 w 4570627"/>
                <a:gd name="connsiteY93" fmla="*/ 4825610 h 4998172"/>
                <a:gd name="connsiteX94" fmla="*/ 1246643 w 4570627"/>
                <a:gd name="connsiteY94" fmla="*/ 4919735 h 4998172"/>
                <a:gd name="connsiteX95" fmla="*/ 1152518 w 4570627"/>
                <a:gd name="connsiteY95" fmla="*/ 4998172 h 4998172"/>
                <a:gd name="connsiteX96" fmla="*/ 964268 w 4570627"/>
                <a:gd name="connsiteY96" fmla="*/ 4951110 h 4998172"/>
                <a:gd name="connsiteX97" fmla="*/ 948581 w 4570627"/>
                <a:gd name="connsiteY97" fmla="*/ 4684422 h 4998172"/>
                <a:gd name="connsiteX98" fmla="*/ 807394 w 4570627"/>
                <a:gd name="connsiteY98" fmla="*/ 4590298 h 4998172"/>
                <a:gd name="connsiteX99" fmla="*/ 773692 w 4570627"/>
                <a:gd name="connsiteY99" fmla="*/ 4590298 h 4998172"/>
                <a:gd name="connsiteX100" fmla="*/ 802640 w 4570627"/>
                <a:gd name="connsiteY100" fmla="*/ 4538980 h 4998172"/>
                <a:gd name="connsiteX101" fmla="*/ 894080 w 4570627"/>
                <a:gd name="connsiteY101" fmla="*/ 4439920 h 4998172"/>
                <a:gd name="connsiteX102" fmla="*/ 1122680 w 4570627"/>
                <a:gd name="connsiteY102" fmla="*/ 4470400 h 4998172"/>
                <a:gd name="connsiteX103" fmla="*/ 1168400 w 4570627"/>
                <a:gd name="connsiteY103" fmla="*/ 4401820 h 4998172"/>
                <a:gd name="connsiteX104" fmla="*/ 1122680 w 4570627"/>
                <a:gd name="connsiteY104" fmla="*/ 4272280 h 4998172"/>
                <a:gd name="connsiteX105" fmla="*/ 1160780 w 4570627"/>
                <a:gd name="connsiteY105" fmla="*/ 4218940 h 4998172"/>
                <a:gd name="connsiteX106" fmla="*/ 1130300 w 4570627"/>
                <a:gd name="connsiteY106" fmla="*/ 4127500 h 4998172"/>
                <a:gd name="connsiteX107" fmla="*/ 1160780 w 4570627"/>
                <a:gd name="connsiteY107" fmla="*/ 3807460 h 4998172"/>
                <a:gd name="connsiteX108" fmla="*/ 1038860 w 4570627"/>
                <a:gd name="connsiteY108" fmla="*/ 3395980 h 4998172"/>
                <a:gd name="connsiteX109" fmla="*/ 1130300 w 4570627"/>
                <a:gd name="connsiteY109" fmla="*/ 3235960 h 4998172"/>
                <a:gd name="connsiteX110" fmla="*/ 1183640 w 4570627"/>
                <a:gd name="connsiteY110" fmla="*/ 3274060 h 4998172"/>
                <a:gd name="connsiteX111" fmla="*/ 1336040 w 4570627"/>
                <a:gd name="connsiteY111" fmla="*/ 3175000 h 4998172"/>
                <a:gd name="connsiteX112" fmla="*/ 1351280 w 4570627"/>
                <a:gd name="connsiteY112" fmla="*/ 3045460 h 4998172"/>
                <a:gd name="connsiteX113" fmla="*/ 1290320 w 4570627"/>
                <a:gd name="connsiteY113" fmla="*/ 2969260 h 4998172"/>
                <a:gd name="connsiteX114" fmla="*/ 1290320 w 4570627"/>
                <a:gd name="connsiteY114" fmla="*/ 2923540 h 4998172"/>
                <a:gd name="connsiteX115" fmla="*/ 1366520 w 4570627"/>
                <a:gd name="connsiteY115" fmla="*/ 2923540 h 4998172"/>
                <a:gd name="connsiteX116" fmla="*/ 1389380 w 4570627"/>
                <a:gd name="connsiteY116" fmla="*/ 2969260 h 4998172"/>
                <a:gd name="connsiteX117" fmla="*/ 1518920 w 4570627"/>
                <a:gd name="connsiteY117" fmla="*/ 2938780 h 4998172"/>
                <a:gd name="connsiteX118" fmla="*/ 1503680 w 4570627"/>
                <a:gd name="connsiteY118" fmla="*/ 2847340 h 4998172"/>
                <a:gd name="connsiteX119" fmla="*/ 1450340 w 4570627"/>
                <a:gd name="connsiteY119" fmla="*/ 2786380 h 4998172"/>
                <a:gd name="connsiteX120" fmla="*/ 1488440 w 4570627"/>
                <a:gd name="connsiteY120" fmla="*/ 2573020 h 4998172"/>
                <a:gd name="connsiteX121" fmla="*/ 1389380 w 4570627"/>
                <a:gd name="connsiteY121" fmla="*/ 2420620 h 4998172"/>
                <a:gd name="connsiteX122" fmla="*/ 1297940 w 4570627"/>
                <a:gd name="connsiteY122" fmla="*/ 2405380 h 4998172"/>
                <a:gd name="connsiteX123" fmla="*/ 1244600 w 4570627"/>
                <a:gd name="connsiteY123" fmla="*/ 2306320 h 4998172"/>
                <a:gd name="connsiteX124" fmla="*/ 1282700 w 4570627"/>
                <a:gd name="connsiteY124" fmla="*/ 2252980 h 4998172"/>
                <a:gd name="connsiteX125" fmla="*/ 1183640 w 4570627"/>
                <a:gd name="connsiteY125" fmla="*/ 2146300 h 4998172"/>
                <a:gd name="connsiteX126" fmla="*/ 1168400 w 4570627"/>
                <a:gd name="connsiteY126" fmla="*/ 2047240 h 4998172"/>
                <a:gd name="connsiteX127" fmla="*/ 1183640 w 4570627"/>
                <a:gd name="connsiteY127" fmla="*/ 2016760 h 4998172"/>
                <a:gd name="connsiteX128" fmla="*/ 1153160 w 4570627"/>
                <a:gd name="connsiteY128" fmla="*/ 1887220 h 4998172"/>
                <a:gd name="connsiteX129" fmla="*/ 1176020 w 4570627"/>
                <a:gd name="connsiteY129" fmla="*/ 1871980 h 4998172"/>
                <a:gd name="connsiteX130" fmla="*/ 1145540 w 4570627"/>
                <a:gd name="connsiteY130" fmla="*/ 1658620 h 4998172"/>
                <a:gd name="connsiteX131" fmla="*/ 1099820 w 4570627"/>
                <a:gd name="connsiteY131" fmla="*/ 1620520 h 4998172"/>
                <a:gd name="connsiteX132" fmla="*/ 1076960 w 4570627"/>
                <a:gd name="connsiteY132" fmla="*/ 1643380 h 4998172"/>
                <a:gd name="connsiteX133" fmla="*/ 1069340 w 4570627"/>
                <a:gd name="connsiteY133" fmla="*/ 1711960 h 4998172"/>
                <a:gd name="connsiteX134" fmla="*/ 970280 w 4570627"/>
                <a:gd name="connsiteY134" fmla="*/ 1719580 h 4998172"/>
                <a:gd name="connsiteX135" fmla="*/ 932180 w 4570627"/>
                <a:gd name="connsiteY135" fmla="*/ 1574800 h 4998172"/>
                <a:gd name="connsiteX136" fmla="*/ 871220 w 4570627"/>
                <a:gd name="connsiteY136" fmla="*/ 1620520 h 4998172"/>
                <a:gd name="connsiteX137" fmla="*/ 855980 w 4570627"/>
                <a:gd name="connsiteY137" fmla="*/ 1574800 h 4998172"/>
                <a:gd name="connsiteX138" fmla="*/ 924560 w 4570627"/>
                <a:gd name="connsiteY138" fmla="*/ 1513840 h 4998172"/>
                <a:gd name="connsiteX139" fmla="*/ 855980 w 4570627"/>
                <a:gd name="connsiteY139" fmla="*/ 1384300 h 4998172"/>
                <a:gd name="connsiteX140" fmla="*/ 825500 w 4570627"/>
                <a:gd name="connsiteY140" fmla="*/ 1330960 h 4998172"/>
                <a:gd name="connsiteX141" fmla="*/ 787400 w 4570627"/>
                <a:gd name="connsiteY141" fmla="*/ 1430020 h 4998172"/>
                <a:gd name="connsiteX142" fmla="*/ 772160 w 4570627"/>
                <a:gd name="connsiteY142" fmla="*/ 1369060 h 4998172"/>
                <a:gd name="connsiteX143" fmla="*/ 688340 w 4570627"/>
                <a:gd name="connsiteY143" fmla="*/ 1422400 h 4998172"/>
                <a:gd name="connsiteX144" fmla="*/ 695960 w 4570627"/>
                <a:gd name="connsiteY144" fmla="*/ 1277620 h 4998172"/>
                <a:gd name="connsiteX145" fmla="*/ 497840 w 4570627"/>
                <a:gd name="connsiteY145" fmla="*/ 1262380 h 4998172"/>
                <a:gd name="connsiteX146" fmla="*/ 353060 w 4570627"/>
                <a:gd name="connsiteY146" fmla="*/ 1315720 h 4998172"/>
                <a:gd name="connsiteX147" fmla="*/ 467360 w 4570627"/>
                <a:gd name="connsiteY147" fmla="*/ 1376680 h 4998172"/>
                <a:gd name="connsiteX148" fmla="*/ 474980 w 4570627"/>
                <a:gd name="connsiteY148" fmla="*/ 1452880 h 4998172"/>
                <a:gd name="connsiteX149" fmla="*/ 391160 w 4570627"/>
                <a:gd name="connsiteY149" fmla="*/ 1452880 h 4998172"/>
                <a:gd name="connsiteX150" fmla="*/ 360680 w 4570627"/>
                <a:gd name="connsiteY150" fmla="*/ 1551940 h 4998172"/>
                <a:gd name="connsiteX151" fmla="*/ 132080 w 4570627"/>
                <a:gd name="connsiteY151" fmla="*/ 1567180 h 4998172"/>
                <a:gd name="connsiteX152" fmla="*/ 69850 w 4570627"/>
                <a:gd name="connsiteY152" fmla="*/ 1533991 h 4998172"/>
                <a:gd name="connsiteX153" fmla="*/ 69850 w 4570627"/>
                <a:gd name="connsiteY153" fmla="*/ 1435100 h 4998172"/>
                <a:gd name="connsiteX154" fmla="*/ 146050 w 4570627"/>
                <a:gd name="connsiteY154" fmla="*/ 1295400 h 4998172"/>
                <a:gd name="connsiteX155" fmla="*/ 82550 w 4570627"/>
                <a:gd name="connsiteY155" fmla="*/ 1193800 h 4998172"/>
                <a:gd name="connsiteX156" fmla="*/ 25400 w 4570627"/>
                <a:gd name="connsiteY156" fmla="*/ 1168400 h 4998172"/>
                <a:gd name="connsiteX157" fmla="*/ 31750 w 4570627"/>
                <a:gd name="connsiteY157" fmla="*/ 952500 h 4998172"/>
                <a:gd name="connsiteX158" fmla="*/ 0 w 4570627"/>
                <a:gd name="connsiteY158" fmla="*/ 876300 h 4998172"/>
                <a:gd name="connsiteX159" fmla="*/ 0 w 4570627"/>
                <a:gd name="connsiteY159" fmla="*/ 774700 h 4998172"/>
                <a:gd name="connsiteX160" fmla="*/ 107950 w 4570627"/>
                <a:gd name="connsiteY160" fmla="*/ 755650 h 4998172"/>
                <a:gd name="connsiteX161" fmla="*/ 127000 w 4570627"/>
                <a:gd name="connsiteY161" fmla="*/ 806450 h 4998172"/>
                <a:gd name="connsiteX162" fmla="*/ 215900 w 4570627"/>
                <a:gd name="connsiteY162" fmla="*/ 749300 h 4998172"/>
                <a:gd name="connsiteX163" fmla="*/ 368300 w 4570627"/>
                <a:gd name="connsiteY163" fmla="*/ 749300 h 4998172"/>
                <a:gd name="connsiteX164" fmla="*/ 368300 w 4570627"/>
                <a:gd name="connsiteY164" fmla="*/ 800100 h 4998172"/>
                <a:gd name="connsiteX165" fmla="*/ 495300 w 4570627"/>
                <a:gd name="connsiteY165" fmla="*/ 800100 h 4998172"/>
                <a:gd name="connsiteX166" fmla="*/ 488950 w 4570627"/>
                <a:gd name="connsiteY166" fmla="*/ 711200 h 4998172"/>
                <a:gd name="connsiteX167" fmla="*/ 488950 w 4570627"/>
                <a:gd name="connsiteY167" fmla="*/ 603250 h 4998172"/>
                <a:gd name="connsiteX168" fmla="*/ 596900 w 4570627"/>
                <a:gd name="connsiteY168" fmla="*/ 615950 h 4998172"/>
                <a:gd name="connsiteX169" fmla="*/ 679450 w 4570627"/>
                <a:gd name="connsiteY169" fmla="*/ 514350 h 4998172"/>
                <a:gd name="connsiteX170" fmla="*/ 717550 w 4570627"/>
                <a:gd name="connsiteY170" fmla="*/ 311150 h 4998172"/>
                <a:gd name="connsiteX171" fmla="*/ 812800 w 4570627"/>
                <a:gd name="connsiteY171" fmla="*/ 361950 h 4998172"/>
                <a:gd name="connsiteX172" fmla="*/ 952500 w 4570627"/>
                <a:gd name="connsiteY172" fmla="*/ 266700 h 4998172"/>
                <a:gd name="connsiteX173" fmla="*/ 979517 w 4570627"/>
                <a:gd name="connsiteY173" fmla="*/ 226177 h 4998172"/>
                <a:gd name="connsiteX174" fmla="*/ 977900 w 4570627"/>
                <a:gd name="connsiteY174" fmla="*/ 273050 h 4998172"/>
                <a:gd name="connsiteX175" fmla="*/ 1060450 w 4570627"/>
                <a:gd name="connsiteY175" fmla="*/ 177800 h 4998172"/>
                <a:gd name="connsiteX176" fmla="*/ 812800 w 4570627"/>
                <a:gd name="connsiteY176" fmla="*/ 12701 h 4998172"/>
                <a:gd name="connsiteX177" fmla="*/ 812801 w 4570627"/>
                <a:gd name="connsiteY177" fmla="*/ 12701 h 4998172"/>
                <a:gd name="connsiteX178" fmla="*/ 869950 w 4570627"/>
                <a:gd name="connsiteY178" fmla="*/ 69850 h 4998172"/>
                <a:gd name="connsiteX179" fmla="*/ 920750 w 4570627"/>
                <a:gd name="connsiteY179" fmla="*/ 57150 h 4998172"/>
                <a:gd name="connsiteX180" fmla="*/ 920750 w 4570627"/>
                <a:gd name="connsiteY180" fmla="*/ 57151 h 4998172"/>
                <a:gd name="connsiteX181" fmla="*/ 869950 w 4570627"/>
                <a:gd name="connsiteY181" fmla="*/ 69851 h 4998172"/>
                <a:gd name="connsiteX182" fmla="*/ 812800 w 4570627"/>
                <a:gd name="connsiteY182" fmla="*/ 12701 h 4998172"/>
                <a:gd name="connsiteX183" fmla="*/ 984250 w 4570627"/>
                <a:gd name="connsiteY183" fmla="*/ 0 h 4998172"/>
                <a:gd name="connsiteX184" fmla="*/ 1022350 w 4570627"/>
                <a:gd name="connsiteY184" fmla="*/ 50800 h 4998172"/>
                <a:gd name="connsiteX185" fmla="*/ 1022350 w 4570627"/>
                <a:gd name="connsiteY185" fmla="*/ 50801 h 4998172"/>
                <a:gd name="connsiteX186" fmla="*/ 984250 w 4570627"/>
                <a:gd name="connsiteY186" fmla="*/ 1 h 4998172"/>
                <a:gd name="connsiteX187" fmla="*/ 908051 w 4570627"/>
                <a:gd name="connsiteY187" fmla="*/ 6351 h 4998172"/>
                <a:gd name="connsiteX188" fmla="*/ 908050 w 4570627"/>
                <a:gd name="connsiteY188" fmla="*/ 6350 h 4998172"/>
                <a:gd name="connsiteX189" fmla="*/ 984250 w 4570627"/>
                <a:gd name="connsiteY189" fmla="*/ 0 h 4998172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1060450 w 4570627"/>
                <a:gd name="connsiteY5" fmla="*/ 177800 h 4998172"/>
                <a:gd name="connsiteX6" fmla="*/ 1149350 w 4570627"/>
                <a:gd name="connsiteY6" fmla="*/ 215900 h 4998172"/>
                <a:gd name="connsiteX7" fmla="*/ 1263650 w 4570627"/>
                <a:gd name="connsiteY7" fmla="*/ 292100 h 4998172"/>
                <a:gd name="connsiteX8" fmla="*/ 1320800 w 4570627"/>
                <a:gd name="connsiteY8" fmla="*/ 412750 h 4998172"/>
                <a:gd name="connsiteX9" fmla="*/ 1371600 w 4570627"/>
                <a:gd name="connsiteY9" fmla="*/ 393700 h 4998172"/>
                <a:gd name="connsiteX10" fmla="*/ 1479550 w 4570627"/>
                <a:gd name="connsiteY10" fmla="*/ 501650 h 4998172"/>
                <a:gd name="connsiteX11" fmla="*/ 1530350 w 4570627"/>
                <a:gd name="connsiteY11" fmla="*/ 666750 h 4998172"/>
                <a:gd name="connsiteX12" fmla="*/ 1612900 w 4570627"/>
                <a:gd name="connsiteY12" fmla="*/ 711200 h 4998172"/>
                <a:gd name="connsiteX13" fmla="*/ 1638300 w 4570627"/>
                <a:gd name="connsiteY13" fmla="*/ 641350 h 4998172"/>
                <a:gd name="connsiteX14" fmla="*/ 1739900 w 4570627"/>
                <a:gd name="connsiteY14" fmla="*/ 647700 h 4998172"/>
                <a:gd name="connsiteX15" fmla="*/ 1746250 w 4570627"/>
                <a:gd name="connsiteY15" fmla="*/ 596900 h 4998172"/>
                <a:gd name="connsiteX16" fmla="*/ 1689100 w 4570627"/>
                <a:gd name="connsiteY16" fmla="*/ 565150 h 4998172"/>
                <a:gd name="connsiteX17" fmla="*/ 1638300 w 4570627"/>
                <a:gd name="connsiteY17" fmla="*/ 520700 h 4998172"/>
                <a:gd name="connsiteX18" fmla="*/ 1625600 w 4570627"/>
                <a:gd name="connsiteY18" fmla="*/ 469900 h 4998172"/>
                <a:gd name="connsiteX19" fmla="*/ 1778000 w 4570627"/>
                <a:gd name="connsiteY19" fmla="*/ 412750 h 4998172"/>
                <a:gd name="connsiteX20" fmla="*/ 1879600 w 4570627"/>
                <a:gd name="connsiteY20" fmla="*/ 425450 h 4998172"/>
                <a:gd name="connsiteX21" fmla="*/ 1873250 w 4570627"/>
                <a:gd name="connsiteY21" fmla="*/ 488950 h 4998172"/>
                <a:gd name="connsiteX22" fmla="*/ 1981200 w 4570627"/>
                <a:gd name="connsiteY22" fmla="*/ 482600 h 4998172"/>
                <a:gd name="connsiteX23" fmla="*/ 2006600 w 4570627"/>
                <a:gd name="connsiteY23" fmla="*/ 482600 h 4998172"/>
                <a:gd name="connsiteX24" fmla="*/ 2032000 w 4570627"/>
                <a:gd name="connsiteY24" fmla="*/ 584200 h 4998172"/>
                <a:gd name="connsiteX25" fmla="*/ 2133600 w 4570627"/>
                <a:gd name="connsiteY25" fmla="*/ 596900 h 4998172"/>
                <a:gd name="connsiteX26" fmla="*/ 2171700 w 4570627"/>
                <a:gd name="connsiteY26" fmla="*/ 463550 h 4998172"/>
                <a:gd name="connsiteX27" fmla="*/ 2146300 w 4570627"/>
                <a:gd name="connsiteY27" fmla="*/ 323850 h 4998172"/>
                <a:gd name="connsiteX28" fmla="*/ 2216150 w 4570627"/>
                <a:gd name="connsiteY28" fmla="*/ 241300 h 4998172"/>
                <a:gd name="connsiteX29" fmla="*/ 2279650 w 4570627"/>
                <a:gd name="connsiteY29" fmla="*/ 234950 h 4998172"/>
                <a:gd name="connsiteX30" fmla="*/ 2305050 w 4570627"/>
                <a:gd name="connsiteY30" fmla="*/ 330200 h 4998172"/>
                <a:gd name="connsiteX31" fmla="*/ 2374900 w 4570627"/>
                <a:gd name="connsiteY31" fmla="*/ 393700 h 4998172"/>
                <a:gd name="connsiteX32" fmla="*/ 2381250 w 4570627"/>
                <a:gd name="connsiteY32" fmla="*/ 457200 h 4998172"/>
                <a:gd name="connsiteX33" fmla="*/ 2514600 w 4570627"/>
                <a:gd name="connsiteY33" fmla="*/ 406400 h 4998172"/>
                <a:gd name="connsiteX34" fmla="*/ 2641600 w 4570627"/>
                <a:gd name="connsiteY34" fmla="*/ 381000 h 4998172"/>
                <a:gd name="connsiteX35" fmla="*/ 2686050 w 4570627"/>
                <a:gd name="connsiteY35" fmla="*/ 419100 h 4998172"/>
                <a:gd name="connsiteX36" fmla="*/ 2774950 w 4570627"/>
                <a:gd name="connsiteY36" fmla="*/ 368300 h 4998172"/>
                <a:gd name="connsiteX37" fmla="*/ 2796953 w 4570627"/>
                <a:gd name="connsiteY37" fmla="*/ 370396 h 4998172"/>
                <a:gd name="connsiteX38" fmla="*/ 2787650 w 4570627"/>
                <a:gd name="connsiteY38" fmla="*/ 349252 h 4998172"/>
                <a:gd name="connsiteX39" fmla="*/ 2857500 w 4570627"/>
                <a:gd name="connsiteY39" fmla="*/ 508001 h 4998172"/>
                <a:gd name="connsiteX40" fmla="*/ 2971800 w 4570627"/>
                <a:gd name="connsiteY40" fmla="*/ 533401 h 4998172"/>
                <a:gd name="connsiteX41" fmla="*/ 3054350 w 4570627"/>
                <a:gd name="connsiteY41" fmla="*/ 552451 h 4998172"/>
                <a:gd name="connsiteX42" fmla="*/ 3093057 w 4570627"/>
                <a:gd name="connsiteY42" fmla="*/ 707281 h 4998172"/>
                <a:gd name="connsiteX43" fmla="*/ 3011086 w 4570627"/>
                <a:gd name="connsiteY43" fmla="*/ 588423 h 4998172"/>
                <a:gd name="connsiteX44" fmla="*/ 2924805 w 4570627"/>
                <a:gd name="connsiteY44" fmla="*/ 674704 h 4998172"/>
                <a:gd name="connsiteX45" fmla="*/ 3026774 w 4570627"/>
                <a:gd name="connsiteY45" fmla="*/ 784516 h 4998172"/>
                <a:gd name="connsiteX46" fmla="*/ 3050305 w 4570627"/>
                <a:gd name="connsiteY46" fmla="*/ 957078 h 4998172"/>
                <a:gd name="connsiteX47" fmla="*/ 3348367 w 4570627"/>
                <a:gd name="connsiteY47" fmla="*/ 1129641 h 4998172"/>
                <a:gd name="connsiteX48" fmla="*/ 3411117 w 4570627"/>
                <a:gd name="connsiteY48" fmla="*/ 1239453 h 4998172"/>
                <a:gd name="connsiteX49" fmla="*/ 3262086 w 4570627"/>
                <a:gd name="connsiteY49" fmla="*/ 1419859 h 4998172"/>
                <a:gd name="connsiteX50" fmla="*/ 3395429 w 4570627"/>
                <a:gd name="connsiteY50" fmla="*/ 1663015 h 4998172"/>
                <a:gd name="connsiteX51" fmla="*/ 3489554 w 4570627"/>
                <a:gd name="connsiteY51" fmla="*/ 1945389 h 4998172"/>
                <a:gd name="connsiteX52" fmla="*/ 3638585 w 4570627"/>
                <a:gd name="connsiteY52" fmla="*/ 2110108 h 4998172"/>
                <a:gd name="connsiteX53" fmla="*/ 3756241 w 4570627"/>
                <a:gd name="connsiteY53" fmla="*/ 2015983 h 4998172"/>
                <a:gd name="connsiteX54" fmla="*/ 3905271 w 4570627"/>
                <a:gd name="connsiteY54" fmla="*/ 2259139 h 4998172"/>
                <a:gd name="connsiteX55" fmla="*/ 4007240 w 4570627"/>
                <a:gd name="connsiteY55" fmla="*/ 2376795 h 4998172"/>
                <a:gd name="connsiteX56" fmla="*/ 4124896 w 4570627"/>
                <a:gd name="connsiteY56" fmla="*/ 2376795 h 4998172"/>
                <a:gd name="connsiteX57" fmla="*/ 4328833 w 4570627"/>
                <a:gd name="connsiteY57" fmla="*/ 2659169 h 4998172"/>
                <a:gd name="connsiteX58" fmla="*/ 4446489 w 4570627"/>
                <a:gd name="connsiteY58" fmla="*/ 2643482 h 4998172"/>
                <a:gd name="connsiteX59" fmla="*/ 4564145 w 4570627"/>
                <a:gd name="connsiteY59" fmla="*/ 2768982 h 4998172"/>
                <a:gd name="connsiteX60" fmla="*/ 4570627 w 4570627"/>
                <a:gd name="connsiteY60" fmla="*/ 2778982 h 4998172"/>
                <a:gd name="connsiteX61" fmla="*/ 4493946 w 4570627"/>
                <a:gd name="connsiteY61" fmla="*/ 3147050 h 4998172"/>
                <a:gd name="connsiteX62" fmla="*/ 4274322 w 4570627"/>
                <a:gd name="connsiteY62" fmla="*/ 3162737 h 4998172"/>
                <a:gd name="connsiteX63" fmla="*/ 4180197 w 4570627"/>
                <a:gd name="connsiteY63" fmla="*/ 3492174 h 4998172"/>
                <a:gd name="connsiteX64" fmla="*/ 3819386 w 4570627"/>
                <a:gd name="connsiteY64" fmla="*/ 3617674 h 4998172"/>
                <a:gd name="connsiteX65" fmla="*/ 3552699 w 4570627"/>
                <a:gd name="connsiteY65" fmla="*/ 3774549 h 4998172"/>
                <a:gd name="connsiteX66" fmla="*/ 3552699 w 4570627"/>
                <a:gd name="connsiteY66" fmla="*/ 3884361 h 4998172"/>
                <a:gd name="connsiteX67" fmla="*/ 3788011 w 4570627"/>
                <a:gd name="connsiteY67" fmla="*/ 4088298 h 4998172"/>
                <a:gd name="connsiteX68" fmla="*/ 3772323 w 4570627"/>
                <a:gd name="connsiteY68" fmla="*/ 4307923 h 4998172"/>
                <a:gd name="connsiteX69" fmla="*/ 3866448 w 4570627"/>
                <a:gd name="connsiteY69" fmla="*/ 4417735 h 4998172"/>
                <a:gd name="connsiteX70" fmla="*/ 3897823 w 4570627"/>
                <a:gd name="connsiteY70" fmla="*/ 4653048 h 4998172"/>
                <a:gd name="connsiteX71" fmla="*/ 3819386 w 4570627"/>
                <a:gd name="connsiteY71" fmla="*/ 4762860 h 4998172"/>
                <a:gd name="connsiteX72" fmla="*/ 3662511 w 4570627"/>
                <a:gd name="connsiteY72" fmla="*/ 4684422 h 4998172"/>
                <a:gd name="connsiteX73" fmla="*/ 3615449 w 4570627"/>
                <a:gd name="connsiteY73" fmla="*/ 4605985 h 4998172"/>
                <a:gd name="connsiteX74" fmla="*/ 3615449 w 4570627"/>
                <a:gd name="connsiteY74" fmla="*/ 4464798 h 4998172"/>
                <a:gd name="connsiteX75" fmla="*/ 3458574 w 4570627"/>
                <a:gd name="connsiteY75" fmla="*/ 4402048 h 4998172"/>
                <a:gd name="connsiteX76" fmla="*/ 3395824 w 4570627"/>
                <a:gd name="connsiteY76" fmla="*/ 4527548 h 4998172"/>
                <a:gd name="connsiteX77" fmla="*/ 3160513 w 4570627"/>
                <a:gd name="connsiteY77" fmla="*/ 4449110 h 4998172"/>
                <a:gd name="connsiteX78" fmla="*/ 3144825 w 4570627"/>
                <a:gd name="connsiteY78" fmla="*/ 4386360 h 4998172"/>
                <a:gd name="connsiteX79" fmla="*/ 2940888 w 4570627"/>
                <a:gd name="connsiteY79" fmla="*/ 4464798 h 4998172"/>
                <a:gd name="connsiteX80" fmla="*/ 2831076 w 4570627"/>
                <a:gd name="connsiteY80" fmla="*/ 4574610 h 4998172"/>
                <a:gd name="connsiteX81" fmla="*/ 2564389 w 4570627"/>
                <a:gd name="connsiteY81" fmla="*/ 4605985 h 4998172"/>
                <a:gd name="connsiteX82" fmla="*/ 2329077 w 4570627"/>
                <a:gd name="connsiteY82" fmla="*/ 4621673 h 4998172"/>
                <a:gd name="connsiteX83" fmla="*/ 2125140 w 4570627"/>
                <a:gd name="connsiteY83" fmla="*/ 4809922 h 4998172"/>
                <a:gd name="connsiteX84" fmla="*/ 1936891 w 4570627"/>
                <a:gd name="connsiteY84" fmla="*/ 4856985 h 4998172"/>
                <a:gd name="connsiteX85" fmla="*/ 1717266 w 4570627"/>
                <a:gd name="connsiteY85" fmla="*/ 4747172 h 4998172"/>
                <a:gd name="connsiteX86" fmla="*/ 1701579 w 4570627"/>
                <a:gd name="connsiteY86" fmla="*/ 4621673 h 4998172"/>
                <a:gd name="connsiteX87" fmla="*/ 1576079 w 4570627"/>
                <a:gd name="connsiteY87" fmla="*/ 4574610 h 4998172"/>
                <a:gd name="connsiteX88" fmla="*/ 1419205 w 4570627"/>
                <a:gd name="connsiteY88" fmla="*/ 4574610 h 4998172"/>
                <a:gd name="connsiteX89" fmla="*/ 1340768 w 4570627"/>
                <a:gd name="connsiteY89" fmla="*/ 4668735 h 4998172"/>
                <a:gd name="connsiteX90" fmla="*/ 1309393 w 4570627"/>
                <a:gd name="connsiteY90" fmla="*/ 4825610 h 4998172"/>
                <a:gd name="connsiteX91" fmla="*/ 1246643 w 4570627"/>
                <a:gd name="connsiteY91" fmla="*/ 4919735 h 4998172"/>
                <a:gd name="connsiteX92" fmla="*/ 1152518 w 4570627"/>
                <a:gd name="connsiteY92" fmla="*/ 4998172 h 4998172"/>
                <a:gd name="connsiteX93" fmla="*/ 964268 w 4570627"/>
                <a:gd name="connsiteY93" fmla="*/ 4951110 h 4998172"/>
                <a:gd name="connsiteX94" fmla="*/ 948581 w 4570627"/>
                <a:gd name="connsiteY94" fmla="*/ 4684422 h 4998172"/>
                <a:gd name="connsiteX95" fmla="*/ 807394 w 4570627"/>
                <a:gd name="connsiteY95" fmla="*/ 4590298 h 4998172"/>
                <a:gd name="connsiteX96" fmla="*/ 773692 w 4570627"/>
                <a:gd name="connsiteY96" fmla="*/ 4590298 h 4998172"/>
                <a:gd name="connsiteX97" fmla="*/ 802640 w 4570627"/>
                <a:gd name="connsiteY97" fmla="*/ 4538980 h 4998172"/>
                <a:gd name="connsiteX98" fmla="*/ 894080 w 4570627"/>
                <a:gd name="connsiteY98" fmla="*/ 4439920 h 4998172"/>
                <a:gd name="connsiteX99" fmla="*/ 1122680 w 4570627"/>
                <a:gd name="connsiteY99" fmla="*/ 4470400 h 4998172"/>
                <a:gd name="connsiteX100" fmla="*/ 1168400 w 4570627"/>
                <a:gd name="connsiteY100" fmla="*/ 4401820 h 4998172"/>
                <a:gd name="connsiteX101" fmla="*/ 1122680 w 4570627"/>
                <a:gd name="connsiteY101" fmla="*/ 4272280 h 4998172"/>
                <a:gd name="connsiteX102" fmla="*/ 1160780 w 4570627"/>
                <a:gd name="connsiteY102" fmla="*/ 4218940 h 4998172"/>
                <a:gd name="connsiteX103" fmla="*/ 1130300 w 4570627"/>
                <a:gd name="connsiteY103" fmla="*/ 4127500 h 4998172"/>
                <a:gd name="connsiteX104" fmla="*/ 1160780 w 4570627"/>
                <a:gd name="connsiteY104" fmla="*/ 3807460 h 4998172"/>
                <a:gd name="connsiteX105" fmla="*/ 1038860 w 4570627"/>
                <a:gd name="connsiteY105" fmla="*/ 3395980 h 4998172"/>
                <a:gd name="connsiteX106" fmla="*/ 1130300 w 4570627"/>
                <a:gd name="connsiteY106" fmla="*/ 3235960 h 4998172"/>
                <a:gd name="connsiteX107" fmla="*/ 1183640 w 4570627"/>
                <a:gd name="connsiteY107" fmla="*/ 3274060 h 4998172"/>
                <a:gd name="connsiteX108" fmla="*/ 1336040 w 4570627"/>
                <a:gd name="connsiteY108" fmla="*/ 3175000 h 4998172"/>
                <a:gd name="connsiteX109" fmla="*/ 1351280 w 4570627"/>
                <a:gd name="connsiteY109" fmla="*/ 3045460 h 4998172"/>
                <a:gd name="connsiteX110" fmla="*/ 1290320 w 4570627"/>
                <a:gd name="connsiteY110" fmla="*/ 2969260 h 4998172"/>
                <a:gd name="connsiteX111" fmla="*/ 1290320 w 4570627"/>
                <a:gd name="connsiteY111" fmla="*/ 2923540 h 4998172"/>
                <a:gd name="connsiteX112" fmla="*/ 1366520 w 4570627"/>
                <a:gd name="connsiteY112" fmla="*/ 2923540 h 4998172"/>
                <a:gd name="connsiteX113" fmla="*/ 1389380 w 4570627"/>
                <a:gd name="connsiteY113" fmla="*/ 2969260 h 4998172"/>
                <a:gd name="connsiteX114" fmla="*/ 1518920 w 4570627"/>
                <a:gd name="connsiteY114" fmla="*/ 2938780 h 4998172"/>
                <a:gd name="connsiteX115" fmla="*/ 1503680 w 4570627"/>
                <a:gd name="connsiteY115" fmla="*/ 2847340 h 4998172"/>
                <a:gd name="connsiteX116" fmla="*/ 1450340 w 4570627"/>
                <a:gd name="connsiteY116" fmla="*/ 2786380 h 4998172"/>
                <a:gd name="connsiteX117" fmla="*/ 1488440 w 4570627"/>
                <a:gd name="connsiteY117" fmla="*/ 2573020 h 4998172"/>
                <a:gd name="connsiteX118" fmla="*/ 1389380 w 4570627"/>
                <a:gd name="connsiteY118" fmla="*/ 2420620 h 4998172"/>
                <a:gd name="connsiteX119" fmla="*/ 1297940 w 4570627"/>
                <a:gd name="connsiteY119" fmla="*/ 2405380 h 4998172"/>
                <a:gd name="connsiteX120" fmla="*/ 1244600 w 4570627"/>
                <a:gd name="connsiteY120" fmla="*/ 2306320 h 4998172"/>
                <a:gd name="connsiteX121" fmla="*/ 1282700 w 4570627"/>
                <a:gd name="connsiteY121" fmla="*/ 2252980 h 4998172"/>
                <a:gd name="connsiteX122" fmla="*/ 1183640 w 4570627"/>
                <a:gd name="connsiteY122" fmla="*/ 2146300 h 4998172"/>
                <a:gd name="connsiteX123" fmla="*/ 1168400 w 4570627"/>
                <a:gd name="connsiteY123" fmla="*/ 2047240 h 4998172"/>
                <a:gd name="connsiteX124" fmla="*/ 1183640 w 4570627"/>
                <a:gd name="connsiteY124" fmla="*/ 2016760 h 4998172"/>
                <a:gd name="connsiteX125" fmla="*/ 1153160 w 4570627"/>
                <a:gd name="connsiteY125" fmla="*/ 1887220 h 4998172"/>
                <a:gd name="connsiteX126" fmla="*/ 1176020 w 4570627"/>
                <a:gd name="connsiteY126" fmla="*/ 1871980 h 4998172"/>
                <a:gd name="connsiteX127" fmla="*/ 1145540 w 4570627"/>
                <a:gd name="connsiteY127" fmla="*/ 1658620 h 4998172"/>
                <a:gd name="connsiteX128" fmla="*/ 1099820 w 4570627"/>
                <a:gd name="connsiteY128" fmla="*/ 1620520 h 4998172"/>
                <a:gd name="connsiteX129" fmla="*/ 1076960 w 4570627"/>
                <a:gd name="connsiteY129" fmla="*/ 1643380 h 4998172"/>
                <a:gd name="connsiteX130" fmla="*/ 1069340 w 4570627"/>
                <a:gd name="connsiteY130" fmla="*/ 1711960 h 4998172"/>
                <a:gd name="connsiteX131" fmla="*/ 970280 w 4570627"/>
                <a:gd name="connsiteY131" fmla="*/ 1719580 h 4998172"/>
                <a:gd name="connsiteX132" fmla="*/ 932180 w 4570627"/>
                <a:gd name="connsiteY132" fmla="*/ 1574800 h 4998172"/>
                <a:gd name="connsiteX133" fmla="*/ 871220 w 4570627"/>
                <a:gd name="connsiteY133" fmla="*/ 1620520 h 4998172"/>
                <a:gd name="connsiteX134" fmla="*/ 855980 w 4570627"/>
                <a:gd name="connsiteY134" fmla="*/ 1574800 h 4998172"/>
                <a:gd name="connsiteX135" fmla="*/ 924560 w 4570627"/>
                <a:gd name="connsiteY135" fmla="*/ 1513840 h 4998172"/>
                <a:gd name="connsiteX136" fmla="*/ 855980 w 4570627"/>
                <a:gd name="connsiteY136" fmla="*/ 1384300 h 4998172"/>
                <a:gd name="connsiteX137" fmla="*/ 825500 w 4570627"/>
                <a:gd name="connsiteY137" fmla="*/ 1330960 h 4998172"/>
                <a:gd name="connsiteX138" fmla="*/ 787400 w 4570627"/>
                <a:gd name="connsiteY138" fmla="*/ 1430020 h 4998172"/>
                <a:gd name="connsiteX139" fmla="*/ 772160 w 4570627"/>
                <a:gd name="connsiteY139" fmla="*/ 1369060 h 4998172"/>
                <a:gd name="connsiteX140" fmla="*/ 688340 w 4570627"/>
                <a:gd name="connsiteY140" fmla="*/ 1422400 h 4998172"/>
                <a:gd name="connsiteX141" fmla="*/ 695960 w 4570627"/>
                <a:gd name="connsiteY141" fmla="*/ 1277620 h 4998172"/>
                <a:gd name="connsiteX142" fmla="*/ 497840 w 4570627"/>
                <a:gd name="connsiteY142" fmla="*/ 1262380 h 4998172"/>
                <a:gd name="connsiteX143" fmla="*/ 353060 w 4570627"/>
                <a:gd name="connsiteY143" fmla="*/ 1315720 h 4998172"/>
                <a:gd name="connsiteX144" fmla="*/ 467360 w 4570627"/>
                <a:gd name="connsiteY144" fmla="*/ 1376680 h 4998172"/>
                <a:gd name="connsiteX145" fmla="*/ 474980 w 4570627"/>
                <a:gd name="connsiteY145" fmla="*/ 1452880 h 4998172"/>
                <a:gd name="connsiteX146" fmla="*/ 391160 w 4570627"/>
                <a:gd name="connsiteY146" fmla="*/ 1452880 h 4998172"/>
                <a:gd name="connsiteX147" fmla="*/ 360680 w 4570627"/>
                <a:gd name="connsiteY147" fmla="*/ 1551940 h 4998172"/>
                <a:gd name="connsiteX148" fmla="*/ 132080 w 4570627"/>
                <a:gd name="connsiteY148" fmla="*/ 1567180 h 4998172"/>
                <a:gd name="connsiteX149" fmla="*/ 69850 w 4570627"/>
                <a:gd name="connsiteY149" fmla="*/ 1533991 h 4998172"/>
                <a:gd name="connsiteX150" fmla="*/ 69850 w 4570627"/>
                <a:gd name="connsiteY150" fmla="*/ 1435100 h 4998172"/>
                <a:gd name="connsiteX151" fmla="*/ 146050 w 4570627"/>
                <a:gd name="connsiteY151" fmla="*/ 1295400 h 4998172"/>
                <a:gd name="connsiteX152" fmla="*/ 82550 w 4570627"/>
                <a:gd name="connsiteY152" fmla="*/ 1193800 h 4998172"/>
                <a:gd name="connsiteX153" fmla="*/ 25400 w 4570627"/>
                <a:gd name="connsiteY153" fmla="*/ 1168400 h 4998172"/>
                <a:gd name="connsiteX154" fmla="*/ 31750 w 4570627"/>
                <a:gd name="connsiteY154" fmla="*/ 952500 h 4998172"/>
                <a:gd name="connsiteX155" fmla="*/ 0 w 4570627"/>
                <a:gd name="connsiteY155" fmla="*/ 876300 h 4998172"/>
                <a:gd name="connsiteX156" fmla="*/ 0 w 4570627"/>
                <a:gd name="connsiteY156" fmla="*/ 774700 h 4998172"/>
                <a:gd name="connsiteX157" fmla="*/ 107950 w 4570627"/>
                <a:gd name="connsiteY157" fmla="*/ 755650 h 4998172"/>
                <a:gd name="connsiteX158" fmla="*/ 127000 w 4570627"/>
                <a:gd name="connsiteY158" fmla="*/ 806450 h 4998172"/>
                <a:gd name="connsiteX159" fmla="*/ 215900 w 4570627"/>
                <a:gd name="connsiteY159" fmla="*/ 749300 h 4998172"/>
                <a:gd name="connsiteX160" fmla="*/ 368300 w 4570627"/>
                <a:gd name="connsiteY160" fmla="*/ 749300 h 4998172"/>
                <a:gd name="connsiteX161" fmla="*/ 368300 w 4570627"/>
                <a:gd name="connsiteY161" fmla="*/ 800100 h 4998172"/>
                <a:gd name="connsiteX162" fmla="*/ 495300 w 4570627"/>
                <a:gd name="connsiteY162" fmla="*/ 800100 h 4998172"/>
                <a:gd name="connsiteX163" fmla="*/ 488950 w 4570627"/>
                <a:gd name="connsiteY163" fmla="*/ 711200 h 4998172"/>
                <a:gd name="connsiteX164" fmla="*/ 488950 w 4570627"/>
                <a:gd name="connsiteY164" fmla="*/ 603250 h 4998172"/>
                <a:gd name="connsiteX165" fmla="*/ 596900 w 4570627"/>
                <a:gd name="connsiteY165" fmla="*/ 615950 h 4998172"/>
                <a:gd name="connsiteX166" fmla="*/ 679450 w 4570627"/>
                <a:gd name="connsiteY166" fmla="*/ 514350 h 4998172"/>
                <a:gd name="connsiteX167" fmla="*/ 717550 w 4570627"/>
                <a:gd name="connsiteY167" fmla="*/ 311150 h 4998172"/>
                <a:gd name="connsiteX168" fmla="*/ 812800 w 4570627"/>
                <a:gd name="connsiteY168" fmla="*/ 361950 h 4998172"/>
                <a:gd name="connsiteX169" fmla="*/ 952500 w 4570627"/>
                <a:gd name="connsiteY169" fmla="*/ 266700 h 4998172"/>
                <a:gd name="connsiteX170" fmla="*/ 979517 w 4570627"/>
                <a:gd name="connsiteY170" fmla="*/ 226177 h 4998172"/>
                <a:gd name="connsiteX171" fmla="*/ 977900 w 4570627"/>
                <a:gd name="connsiteY171" fmla="*/ 273050 h 4998172"/>
                <a:gd name="connsiteX172" fmla="*/ 1060450 w 4570627"/>
                <a:gd name="connsiteY172" fmla="*/ 177800 h 4998172"/>
                <a:gd name="connsiteX173" fmla="*/ 812800 w 4570627"/>
                <a:gd name="connsiteY173" fmla="*/ 12701 h 4998172"/>
                <a:gd name="connsiteX174" fmla="*/ 812801 w 4570627"/>
                <a:gd name="connsiteY174" fmla="*/ 12701 h 4998172"/>
                <a:gd name="connsiteX175" fmla="*/ 869950 w 4570627"/>
                <a:gd name="connsiteY175" fmla="*/ 69850 h 4998172"/>
                <a:gd name="connsiteX176" fmla="*/ 920750 w 4570627"/>
                <a:gd name="connsiteY176" fmla="*/ 57150 h 4998172"/>
                <a:gd name="connsiteX177" fmla="*/ 920750 w 4570627"/>
                <a:gd name="connsiteY177" fmla="*/ 57151 h 4998172"/>
                <a:gd name="connsiteX178" fmla="*/ 869950 w 4570627"/>
                <a:gd name="connsiteY178" fmla="*/ 69851 h 4998172"/>
                <a:gd name="connsiteX179" fmla="*/ 812800 w 4570627"/>
                <a:gd name="connsiteY179" fmla="*/ 12701 h 4998172"/>
                <a:gd name="connsiteX180" fmla="*/ 984250 w 4570627"/>
                <a:gd name="connsiteY180" fmla="*/ 0 h 4998172"/>
                <a:gd name="connsiteX181" fmla="*/ 1022350 w 4570627"/>
                <a:gd name="connsiteY181" fmla="*/ 50800 h 4998172"/>
                <a:gd name="connsiteX182" fmla="*/ 1022350 w 4570627"/>
                <a:gd name="connsiteY182" fmla="*/ 50801 h 4998172"/>
                <a:gd name="connsiteX183" fmla="*/ 984250 w 4570627"/>
                <a:gd name="connsiteY183" fmla="*/ 1 h 4998172"/>
                <a:gd name="connsiteX184" fmla="*/ 908051 w 4570627"/>
                <a:gd name="connsiteY184" fmla="*/ 6351 h 4998172"/>
                <a:gd name="connsiteX185" fmla="*/ 908050 w 4570627"/>
                <a:gd name="connsiteY185" fmla="*/ 6350 h 4998172"/>
                <a:gd name="connsiteX186" fmla="*/ 984250 w 4570627"/>
                <a:gd name="connsiteY186" fmla="*/ 0 h 4998172"/>
                <a:gd name="connsiteX0" fmla="*/ 555179 w 4570627"/>
                <a:gd name="connsiteY0" fmla="*/ 4669234 h 4998171"/>
                <a:gd name="connsiteX1" fmla="*/ 555179 w 4570627"/>
                <a:gd name="connsiteY1" fmla="*/ 4669234 h 4998171"/>
                <a:gd name="connsiteX2" fmla="*/ 546724 w 4570627"/>
                <a:gd name="connsiteY2" fmla="*/ 4693834 h 4998171"/>
                <a:gd name="connsiteX3" fmla="*/ 546723 w 4570627"/>
                <a:gd name="connsiteY3" fmla="*/ 4693834 h 4998171"/>
                <a:gd name="connsiteX4" fmla="*/ 555179 w 4570627"/>
                <a:gd name="connsiteY4" fmla="*/ 4669234 h 4998171"/>
                <a:gd name="connsiteX5" fmla="*/ 1060450 w 4570627"/>
                <a:gd name="connsiteY5" fmla="*/ 177799 h 4998171"/>
                <a:gd name="connsiteX6" fmla="*/ 1149350 w 4570627"/>
                <a:gd name="connsiteY6" fmla="*/ 215899 h 4998171"/>
                <a:gd name="connsiteX7" fmla="*/ 1263650 w 4570627"/>
                <a:gd name="connsiteY7" fmla="*/ 292099 h 4998171"/>
                <a:gd name="connsiteX8" fmla="*/ 1320800 w 4570627"/>
                <a:gd name="connsiteY8" fmla="*/ 412749 h 4998171"/>
                <a:gd name="connsiteX9" fmla="*/ 1371600 w 4570627"/>
                <a:gd name="connsiteY9" fmla="*/ 393699 h 4998171"/>
                <a:gd name="connsiteX10" fmla="*/ 1479550 w 4570627"/>
                <a:gd name="connsiteY10" fmla="*/ 501649 h 4998171"/>
                <a:gd name="connsiteX11" fmla="*/ 1530350 w 4570627"/>
                <a:gd name="connsiteY11" fmla="*/ 666749 h 4998171"/>
                <a:gd name="connsiteX12" fmla="*/ 1612900 w 4570627"/>
                <a:gd name="connsiteY12" fmla="*/ 711199 h 4998171"/>
                <a:gd name="connsiteX13" fmla="*/ 1638300 w 4570627"/>
                <a:gd name="connsiteY13" fmla="*/ 641349 h 4998171"/>
                <a:gd name="connsiteX14" fmla="*/ 1739900 w 4570627"/>
                <a:gd name="connsiteY14" fmla="*/ 647699 h 4998171"/>
                <a:gd name="connsiteX15" fmla="*/ 1746250 w 4570627"/>
                <a:gd name="connsiteY15" fmla="*/ 596899 h 4998171"/>
                <a:gd name="connsiteX16" fmla="*/ 1689100 w 4570627"/>
                <a:gd name="connsiteY16" fmla="*/ 565149 h 4998171"/>
                <a:gd name="connsiteX17" fmla="*/ 1638300 w 4570627"/>
                <a:gd name="connsiteY17" fmla="*/ 520699 h 4998171"/>
                <a:gd name="connsiteX18" fmla="*/ 1625600 w 4570627"/>
                <a:gd name="connsiteY18" fmla="*/ 469899 h 4998171"/>
                <a:gd name="connsiteX19" fmla="*/ 1778000 w 4570627"/>
                <a:gd name="connsiteY19" fmla="*/ 412749 h 4998171"/>
                <a:gd name="connsiteX20" fmla="*/ 1879600 w 4570627"/>
                <a:gd name="connsiteY20" fmla="*/ 425449 h 4998171"/>
                <a:gd name="connsiteX21" fmla="*/ 1873250 w 4570627"/>
                <a:gd name="connsiteY21" fmla="*/ 488949 h 4998171"/>
                <a:gd name="connsiteX22" fmla="*/ 1981200 w 4570627"/>
                <a:gd name="connsiteY22" fmla="*/ 482599 h 4998171"/>
                <a:gd name="connsiteX23" fmla="*/ 2006600 w 4570627"/>
                <a:gd name="connsiteY23" fmla="*/ 482599 h 4998171"/>
                <a:gd name="connsiteX24" fmla="*/ 2032000 w 4570627"/>
                <a:gd name="connsiteY24" fmla="*/ 584199 h 4998171"/>
                <a:gd name="connsiteX25" fmla="*/ 2133600 w 4570627"/>
                <a:gd name="connsiteY25" fmla="*/ 596899 h 4998171"/>
                <a:gd name="connsiteX26" fmla="*/ 2171700 w 4570627"/>
                <a:gd name="connsiteY26" fmla="*/ 463549 h 4998171"/>
                <a:gd name="connsiteX27" fmla="*/ 2146300 w 4570627"/>
                <a:gd name="connsiteY27" fmla="*/ 323849 h 4998171"/>
                <a:gd name="connsiteX28" fmla="*/ 2216150 w 4570627"/>
                <a:gd name="connsiteY28" fmla="*/ 241299 h 4998171"/>
                <a:gd name="connsiteX29" fmla="*/ 2279650 w 4570627"/>
                <a:gd name="connsiteY29" fmla="*/ 234949 h 4998171"/>
                <a:gd name="connsiteX30" fmla="*/ 2305050 w 4570627"/>
                <a:gd name="connsiteY30" fmla="*/ 330199 h 4998171"/>
                <a:gd name="connsiteX31" fmla="*/ 2374900 w 4570627"/>
                <a:gd name="connsiteY31" fmla="*/ 393699 h 4998171"/>
                <a:gd name="connsiteX32" fmla="*/ 2381250 w 4570627"/>
                <a:gd name="connsiteY32" fmla="*/ 457199 h 4998171"/>
                <a:gd name="connsiteX33" fmla="*/ 2514600 w 4570627"/>
                <a:gd name="connsiteY33" fmla="*/ 406399 h 4998171"/>
                <a:gd name="connsiteX34" fmla="*/ 2641600 w 4570627"/>
                <a:gd name="connsiteY34" fmla="*/ 380999 h 4998171"/>
                <a:gd name="connsiteX35" fmla="*/ 2686050 w 4570627"/>
                <a:gd name="connsiteY35" fmla="*/ 419099 h 4998171"/>
                <a:gd name="connsiteX36" fmla="*/ 2774950 w 4570627"/>
                <a:gd name="connsiteY36" fmla="*/ 368299 h 4998171"/>
                <a:gd name="connsiteX37" fmla="*/ 2796953 w 4570627"/>
                <a:gd name="connsiteY37" fmla="*/ 370395 h 4998171"/>
                <a:gd name="connsiteX38" fmla="*/ 2787650 w 4570627"/>
                <a:gd name="connsiteY38" fmla="*/ 349251 h 4998171"/>
                <a:gd name="connsiteX39" fmla="*/ 2857500 w 4570627"/>
                <a:gd name="connsiteY39" fmla="*/ 508000 h 4998171"/>
                <a:gd name="connsiteX40" fmla="*/ 2971800 w 4570627"/>
                <a:gd name="connsiteY40" fmla="*/ 533400 h 4998171"/>
                <a:gd name="connsiteX41" fmla="*/ 3054350 w 4570627"/>
                <a:gd name="connsiteY41" fmla="*/ 552450 h 4998171"/>
                <a:gd name="connsiteX42" fmla="*/ 3093057 w 4570627"/>
                <a:gd name="connsiteY42" fmla="*/ 707280 h 4998171"/>
                <a:gd name="connsiteX43" fmla="*/ 3011086 w 4570627"/>
                <a:gd name="connsiteY43" fmla="*/ 588422 h 4998171"/>
                <a:gd name="connsiteX44" fmla="*/ 2924805 w 4570627"/>
                <a:gd name="connsiteY44" fmla="*/ 674703 h 4998171"/>
                <a:gd name="connsiteX45" fmla="*/ 3026774 w 4570627"/>
                <a:gd name="connsiteY45" fmla="*/ 784515 h 4998171"/>
                <a:gd name="connsiteX46" fmla="*/ 3050305 w 4570627"/>
                <a:gd name="connsiteY46" fmla="*/ 957077 h 4998171"/>
                <a:gd name="connsiteX47" fmla="*/ 3348367 w 4570627"/>
                <a:gd name="connsiteY47" fmla="*/ 1129640 h 4998171"/>
                <a:gd name="connsiteX48" fmla="*/ 3411117 w 4570627"/>
                <a:gd name="connsiteY48" fmla="*/ 1239452 h 4998171"/>
                <a:gd name="connsiteX49" fmla="*/ 3262086 w 4570627"/>
                <a:gd name="connsiteY49" fmla="*/ 1419858 h 4998171"/>
                <a:gd name="connsiteX50" fmla="*/ 3395429 w 4570627"/>
                <a:gd name="connsiteY50" fmla="*/ 1663014 h 4998171"/>
                <a:gd name="connsiteX51" fmla="*/ 3489554 w 4570627"/>
                <a:gd name="connsiteY51" fmla="*/ 1945388 h 4998171"/>
                <a:gd name="connsiteX52" fmla="*/ 3638585 w 4570627"/>
                <a:gd name="connsiteY52" fmla="*/ 2110107 h 4998171"/>
                <a:gd name="connsiteX53" fmla="*/ 3756241 w 4570627"/>
                <a:gd name="connsiteY53" fmla="*/ 2015982 h 4998171"/>
                <a:gd name="connsiteX54" fmla="*/ 3905271 w 4570627"/>
                <a:gd name="connsiteY54" fmla="*/ 2259138 h 4998171"/>
                <a:gd name="connsiteX55" fmla="*/ 4007240 w 4570627"/>
                <a:gd name="connsiteY55" fmla="*/ 2376794 h 4998171"/>
                <a:gd name="connsiteX56" fmla="*/ 4124896 w 4570627"/>
                <a:gd name="connsiteY56" fmla="*/ 2376794 h 4998171"/>
                <a:gd name="connsiteX57" fmla="*/ 4328833 w 4570627"/>
                <a:gd name="connsiteY57" fmla="*/ 2659168 h 4998171"/>
                <a:gd name="connsiteX58" fmla="*/ 4446489 w 4570627"/>
                <a:gd name="connsiteY58" fmla="*/ 2643481 h 4998171"/>
                <a:gd name="connsiteX59" fmla="*/ 4564145 w 4570627"/>
                <a:gd name="connsiteY59" fmla="*/ 2768981 h 4998171"/>
                <a:gd name="connsiteX60" fmla="*/ 4570627 w 4570627"/>
                <a:gd name="connsiteY60" fmla="*/ 2778981 h 4998171"/>
                <a:gd name="connsiteX61" fmla="*/ 4493946 w 4570627"/>
                <a:gd name="connsiteY61" fmla="*/ 3147049 h 4998171"/>
                <a:gd name="connsiteX62" fmla="*/ 4274322 w 4570627"/>
                <a:gd name="connsiteY62" fmla="*/ 3162736 h 4998171"/>
                <a:gd name="connsiteX63" fmla="*/ 4180197 w 4570627"/>
                <a:gd name="connsiteY63" fmla="*/ 3492173 h 4998171"/>
                <a:gd name="connsiteX64" fmla="*/ 3819386 w 4570627"/>
                <a:gd name="connsiteY64" fmla="*/ 3617673 h 4998171"/>
                <a:gd name="connsiteX65" fmla="*/ 3552699 w 4570627"/>
                <a:gd name="connsiteY65" fmla="*/ 3774548 h 4998171"/>
                <a:gd name="connsiteX66" fmla="*/ 3552699 w 4570627"/>
                <a:gd name="connsiteY66" fmla="*/ 3884360 h 4998171"/>
                <a:gd name="connsiteX67" fmla="*/ 3788011 w 4570627"/>
                <a:gd name="connsiteY67" fmla="*/ 4088297 h 4998171"/>
                <a:gd name="connsiteX68" fmla="*/ 3772323 w 4570627"/>
                <a:gd name="connsiteY68" fmla="*/ 4307922 h 4998171"/>
                <a:gd name="connsiteX69" fmla="*/ 3866448 w 4570627"/>
                <a:gd name="connsiteY69" fmla="*/ 4417734 h 4998171"/>
                <a:gd name="connsiteX70" fmla="*/ 3897823 w 4570627"/>
                <a:gd name="connsiteY70" fmla="*/ 4653047 h 4998171"/>
                <a:gd name="connsiteX71" fmla="*/ 3819386 w 4570627"/>
                <a:gd name="connsiteY71" fmla="*/ 4762859 h 4998171"/>
                <a:gd name="connsiteX72" fmla="*/ 3662511 w 4570627"/>
                <a:gd name="connsiteY72" fmla="*/ 4684421 h 4998171"/>
                <a:gd name="connsiteX73" fmla="*/ 3615449 w 4570627"/>
                <a:gd name="connsiteY73" fmla="*/ 4605984 h 4998171"/>
                <a:gd name="connsiteX74" fmla="*/ 3615449 w 4570627"/>
                <a:gd name="connsiteY74" fmla="*/ 4464797 h 4998171"/>
                <a:gd name="connsiteX75" fmla="*/ 3458574 w 4570627"/>
                <a:gd name="connsiteY75" fmla="*/ 4402047 h 4998171"/>
                <a:gd name="connsiteX76" fmla="*/ 3395824 w 4570627"/>
                <a:gd name="connsiteY76" fmla="*/ 4527547 h 4998171"/>
                <a:gd name="connsiteX77" fmla="*/ 3160513 w 4570627"/>
                <a:gd name="connsiteY77" fmla="*/ 4449109 h 4998171"/>
                <a:gd name="connsiteX78" fmla="*/ 3144825 w 4570627"/>
                <a:gd name="connsiteY78" fmla="*/ 4386359 h 4998171"/>
                <a:gd name="connsiteX79" fmla="*/ 2940888 w 4570627"/>
                <a:gd name="connsiteY79" fmla="*/ 4464797 h 4998171"/>
                <a:gd name="connsiteX80" fmla="*/ 2831076 w 4570627"/>
                <a:gd name="connsiteY80" fmla="*/ 4574609 h 4998171"/>
                <a:gd name="connsiteX81" fmla="*/ 2564389 w 4570627"/>
                <a:gd name="connsiteY81" fmla="*/ 4605984 h 4998171"/>
                <a:gd name="connsiteX82" fmla="*/ 2329077 w 4570627"/>
                <a:gd name="connsiteY82" fmla="*/ 4621672 h 4998171"/>
                <a:gd name="connsiteX83" fmla="*/ 2125140 w 4570627"/>
                <a:gd name="connsiteY83" fmla="*/ 4809921 h 4998171"/>
                <a:gd name="connsiteX84" fmla="*/ 1936891 w 4570627"/>
                <a:gd name="connsiteY84" fmla="*/ 4856984 h 4998171"/>
                <a:gd name="connsiteX85" fmla="*/ 1717266 w 4570627"/>
                <a:gd name="connsiteY85" fmla="*/ 4747171 h 4998171"/>
                <a:gd name="connsiteX86" fmla="*/ 1701579 w 4570627"/>
                <a:gd name="connsiteY86" fmla="*/ 4621672 h 4998171"/>
                <a:gd name="connsiteX87" fmla="*/ 1576079 w 4570627"/>
                <a:gd name="connsiteY87" fmla="*/ 4574609 h 4998171"/>
                <a:gd name="connsiteX88" fmla="*/ 1419205 w 4570627"/>
                <a:gd name="connsiteY88" fmla="*/ 4574609 h 4998171"/>
                <a:gd name="connsiteX89" fmla="*/ 1340768 w 4570627"/>
                <a:gd name="connsiteY89" fmla="*/ 4668734 h 4998171"/>
                <a:gd name="connsiteX90" fmla="*/ 1309393 w 4570627"/>
                <a:gd name="connsiteY90" fmla="*/ 4825609 h 4998171"/>
                <a:gd name="connsiteX91" fmla="*/ 1246643 w 4570627"/>
                <a:gd name="connsiteY91" fmla="*/ 4919734 h 4998171"/>
                <a:gd name="connsiteX92" fmla="*/ 1152518 w 4570627"/>
                <a:gd name="connsiteY92" fmla="*/ 4998171 h 4998171"/>
                <a:gd name="connsiteX93" fmla="*/ 964268 w 4570627"/>
                <a:gd name="connsiteY93" fmla="*/ 4951109 h 4998171"/>
                <a:gd name="connsiteX94" fmla="*/ 948581 w 4570627"/>
                <a:gd name="connsiteY94" fmla="*/ 4684421 h 4998171"/>
                <a:gd name="connsiteX95" fmla="*/ 807394 w 4570627"/>
                <a:gd name="connsiteY95" fmla="*/ 4590297 h 4998171"/>
                <a:gd name="connsiteX96" fmla="*/ 773692 w 4570627"/>
                <a:gd name="connsiteY96" fmla="*/ 4590297 h 4998171"/>
                <a:gd name="connsiteX97" fmla="*/ 802640 w 4570627"/>
                <a:gd name="connsiteY97" fmla="*/ 4538979 h 4998171"/>
                <a:gd name="connsiteX98" fmla="*/ 894080 w 4570627"/>
                <a:gd name="connsiteY98" fmla="*/ 4439919 h 4998171"/>
                <a:gd name="connsiteX99" fmla="*/ 1122680 w 4570627"/>
                <a:gd name="connsiteY99" fmla="*/ 4470399 h 4998171"/>
                <a:gd name="connsiteX100" fmla="*/ 1168400 w 4570627"/>
                <a:gd name="connsiteY100" fmla="*/ 4401819 h 4998171"/>
                <a:gd name="connsiteX101" fmla="*/ 1122680 w 4570627"/>
                <a:gd name="connsiteY101" fmla="*/ 4272279 h 4998171"/>
                <a:gd name="connsiteX102" fmla="*/ 1160780 w 4570627"/>
                <a:gd name="connsiteY102" fmla="*/ 4218939 h 4998171"/>
                <a:gd name="connsiteX103" fmla="*/ 1130300 w 4570627"/>
                <a:gd name="connsiteY103" fmla="*/ 4127499 h 4998171"/>
                <a:gd name="connsiteX104" fmla="*/ 1160780 w 4570627"/>
                <a:gd name="connsiteY104" fmla="*/ 3807459 h 4998171"/>
                <a:gd name="connsiteX105" fmla="*/ 1038860 w 4570627"/>
                <a:gd name="connsiteY105" fmla="*/ 3395979 h 4998171"/>
                <a:gd name="connsiteX106" fmla="*/ 1130300 w 4570627"/>
                <a:gd name="connsiteY106" fmla="*/ 3235959 h 4998171"/>
                <a:gd name="connsiteX107" fmla="*/ 1183640 w 4570627"/>
                <a:gd name="connsiteY107" fmla="*/ 3274059 h 4998171"/>
                <a:gd name="connsiteX108" fmla="*/ 1336040 w 4570627"/>
                <a:gd name="connsiteY108" fmla="*/ 3174999 h 4998171"/>
                <a:gd name="connsiteX109" fmla="*/ 1351280 w 4570627"/>
                <a:gd name="connsiteY109" fmla="*/ 3045459 h 4998171"/>
                <a:gd name="connsiteX110" fmla="*/ 1290320 w 4570627"/>
                <a:gd name="connsiteY110" fmla="*/ 2969259 h 4998171"/>
                <a:gd name="connsiteX111" fmla="*/ 1290320 w 4570627"/>
                <a:gd name="connsiteY111" fmla="*/ 2923539 h 4998171"/>
                <a:gd name="connsiteX112" fmla="*/ 1366520 w 4570627"/>
                <a:gd name="connsiteY112" fmla="*/ 2923539 h 4998171"/>
                <a:gd name="connsiteX113" fmla="*/ 1389380 w 4570627"/>
                <a:gd name="connsiteY113" fmla="*/ 2969259 h 4998171"/>
                <a:gd name="connsiteX114" fmla="*/ 1518920 w 4570627"/>
                <a:gd name="connsiteY114" fmla="*/ 2938779 h 4998171"/>
                <a:gd name="connsiteX115" fmla="*/ 1503680 w 4570627"/>
                <a:gd name="connsiteY115" fmla="*/ 2847339 h 4998171"/>
                <a:gd name="connsiteX116" fmla="*/ 1450340 w 4570627"/>
                <a:gd name="connsiteY116" fmla="*/ 2786379 h 4998171"/>
                <a:gd name="connsiteX117" fmla="*/ 1488440 w 4570627"/>
                <a:gd name="connsiteY117" fmla="*/ 2573019 h 4998171"/>
                <a:gd name="connsiteX118" fmla="*/ 1389380 w 4570627"/>
                <a:gd name="connsiteY118" fmla="*/ 2420619 h 4998171"/>
                <a:gd name="connsiteX119" fmla="*/ 1297940 w 4570627"/>
                <a:gd name="connsiteY119" fmla="*/ 2405379 h 4998171"/>
                <a:gd name="connsiteX120" fmla="*/ 1244600 w 4570627"/>
                <a:gd name="connsiteY120" fmla="*/ 2306319 h 4998171"/>
                <a:gd name="connsiteX121" fmla="*/ 1282700 w 4570627"/>
                <a:gd name="connsiteY121" fmla="*/ 2252979 h 4998171"/>
                <a:gd name="connsiteX122" fmla="*/ 1183640 w 4570627"/>
                <a:gd name="connsiteY122" fmla="*/ 2146299 h 4998171"/>
                <a:gd name="connsiteX123" fmla="*/ 1168400 w 4570627"/>
                <a:gd name="connsiteY123" fmla="*/ 2047239 h 4998171"/>
                <a:gd name="connsiteX124" fmla="*/ 1183640 w 4570627"/>
                <a:gd name="connsiteY124" fmla="*/ 2016759 h 4998171"/>
                <a:gd name="connsiteX125" fmla="*/ 1153160 w 4570627"/>
                <a:gd name="connsiteY125" fmla="*/ 1887219 h 4998171"/>
                <a:gd name="connsiteX126" fmla="*/ 1176020 w 4570627"/>
                <a:gd name="connsiteY126" fmla="*/ 1871979 h 4998171"/>
                <a:gd name="connsiteX127" fmla="*/ 1145540 w 4570627"/>
                <a:gd name="connsiteY127" fmla="*/ 1658619 h 4998171"/>
                <a:gd name="connsiteX128" fmla="*/ 1099820 w 4570627"/>
                <a:gd name="connsiteY128" fmla="*/ 1620519 h 4998171"/>
                <a:gd name="connsiteX129" fmla="*/ 1076960 w 4570627"/>
                <a:gd name="connsiteY129" fmla="*/ 1643379 h 4998171"/>
                <a:gd name="connsiteX130" fmla="*/ 1069340 w 4570627"/>
                <a:gd name="connsiteY130" fmla="*/ 1711959 h 4998171"/>
                <a:gd name="connsiteX131" fmla="*/ 970280 w 4570627"/>
                <a:gd name="connsiteY131" fmla="*/ 1719579 h 4998171"/>
                <a:gd name="connsiteX132" fmla="*/ 932180 w 4570627"/>
                <a:gd name="connsiteY132" fmla="*/ 1574799 h 4998171"/>
                <a:gd name="connsiteX133" fmla="*/ 871220 w 4570627"/>
                <a:gd name="connsiteY133" fmla="*/ 1620519 h 4998171"/>
                <a:gd name="connsiteX134" fmla="*/ 855980 w 4570627"/>
                <a:gd name="connsiteY134" fmla="*/ 1574799 h 4998171"/>
                <a:gd name="connsiteX135" fmla="*/ 924560 w 4570627"/>
                <a:gd name="connsiteY135" fmla="*/ 1513839 h 4998171"/>
                <a:gd name="connsiteX136" fmla="*/ 855980 w 4570627"/>
                <a:gd name="connsiteY136" fmla="*/ 1384299 h 4998171"/>
                <a:gd name="connsiteX137" fmla="*/ 825500 w 4570627"/>
                <a:gd name="connsiteY137" fmla="*/ 1330959 h 4998171"/>
                <a:gd name="connsiteX138" fmla="*/ 787400 w 4570627"/>
                <a:gd name="connsiteY138" fmla="*/ 1430019 h 4998171"/>
                <a:gd name="connsiteX139" fmla="*/ 772160 w 4570627"/>
                <a:gd name="connsiteY139" fmla="*/ 1369059 h 4998171"/>
                <a:gd name="connsiteX140" fmla="*/ 688340 w 4570627"/>
                <a:gd name="connsiteY140" fmla="*/ 1422399 h 4998171"/>
                <a:gd name="connsiteX141" fmla="*/ 695960 w 4570627"/>
                <a:gd name="connsiteY141" fmla="*/ 1277619 h 4998171"/>
                <a:gd name="connsiteX142" fmla="*/ 497840 w 4570627"/>
                <a:gd name="connsiteY142" fmla="*/ 1262379 h 4998171"/>
                <a:gd name="connsiteX143" fmla="*/ 353060 w 4570627"/>
                <a:gd name="connsiteY143" fmla="*/ 1315719 h 4998171"/>
                <a:gd name="connsiteX144" fmla="*/ 467360 w 4570627"/>
                <a:gd name="connsiteY144" fmla="*/ 1376679 h 4998171"/>
                <a:gd name="connsiteX145" fmla="*/ 474980 w 4570627"/>
                <a:gd name="connsiteY145" fmla="*/ 1452879 h 4998171"/>
                <a:gd name="connsiteX146" fmla="*/ 391160 w 4570627"/>
                <a:gd name="connsiteY146" fmla="*/ 1452879 h 4998171"/>
                <a:gd name="connsiteX147" fmla="*/ 360680 w 4570627"/>
                <a:gd name="connsiteY147" fmla="*/ 1551939 h 4998171"/>
                <a:gd name="connsiteX148" fmla="*/ 132080 w 4570627"/>
                <a:gd name="connsiteY148" fmla="*/ 1567179 h 4998171"/>
                <a:gd name="connsiteX149" fmla="*/ 69850 w 4570627"/>
                <a:gd name="connsiteY149" fmla="*/ 1533990 h 4998171"/>
                <a:gd name="connsiteX150" fmla="*/ 69850 w 4570627"/>
                <a:gd name="connsiteY150" fmla="*/ 1435099 h 4998171"/>
                <a:gd name="connsiteX151" fmla="*/ 146050 w 4570627"/>
                <a:gd name="connsiteY151" fmla="*/ 1295399 h 4998171"/>
                <a:gd name="connsiteX152" fmla="*/ 82550 w 4570627"/>
                <a:gd name="connsiteY152" fmla="*/ 1193799 h 4998171"/>
                <a:gd name="connsiteX153" fmla="*/ 25400 w 4570627"/>
                <a:gd name="connsiteY153" fmla="*/ 1168399 h 4998171"/>
                <a:gd name="connsiteX154" fmla="*/ 31750 w 4570627"/>
                <a:gd name="connsiteY154" fmla="*/ 952499 h 4998171"/>
                <a:gd name="connsiteX155" fmla="*/ 0 w 4570627"/>
                <a:gd name="connsiteY155" fmla="*/ 876299 h 4998171"/>
                <a:gd name="connsiteX156" fmla="*/ 0 w 4570627"/>
                <a:gd name="connsiteY156" fmla="*/ 774699 h 4998171"/>
                <a:gd name="connsiteX157" fmla="*/ 107950 w 4570627"/>
                <a:gd name="connsiteY157" fmla="*/ 755649 h 4998171"/>
                <a:gd name="connsiteX158" fmla="*/ 127000 w 4570627"/>
                <a:gd name="connsiteY158" fmla="*/ 806449 h 4998171"/>
                <a:gd name="connsiteX159" fmla="*/ 215900 w 4570627"/>
                <a:gd name="connsiteY159" fmla="*/ 749299 h 4998171"/>
                <a:gd name="connsiteX160" fmla="*/ 368300 w 4570627"/>
                <a:gd name="connsiteY160" fmla="*/ 749299 h 4998171"/>
                <a:gd name="connsiteX161" fmla="*/ 368300 w 4570627"/>
                <a:gd name="connsiteY161" fmla="*/ 800099 h 4998171"/>
                <a:gd name="connsiteX162" fmla="*/ 495300 w 4570627"/>
                <a:gd name="connsiteY162" fmla="*/ 800099 h 4998171"/>
                <a:gd name="connsiteX163" fmla="*/ 488950 w 4570627"/>
                <a:gd name="connsiteY163" fmla="*/ 711199 h 4998171"/>
                <a:gd name="connsiteX164" fmla="*/ 488950 w 4570627"/>
                <a:gd name="connsiteY164" fmla="*/ 603249 h 4998171"/>
                <a:gd name="connsiteX165" fmla="*/ 596900 w 4570627"/>
                <a:gd name="connsiteY165" fmla="*/ 615949 h 4998171"/>
                <a:gd name="connsiteX166" fmla="*/ 679450 w 4570627"/>
                <a:gd name="connsiteY166" fmla="*/ 514349 h 4998171"/>
                <a:gd name="connsiteX167" fmla="*/ 717550 w 4570627"/>
                <a:gd name="connsiteY167" fmla="*/ 311149 h 4998171"/>
                <a:gd name="connsiteX168" fmla="*/ 812800 w 4570627"/>
                <a:gd name="connsiteY168" fmla="*/ 361949 h 4998171"/>
                <a:gd name="connsiteX169" fmla="*/ 952500 w 4570627"/>
                <a:gd name="connsiteY169" fmla="*/ 266699 h 4998171"/>
                <a:gd name="connsiteX170" fmla="*/ 979517 w 4570627"/>
                <a:gd name="connsiteY170" fmla="*/ 226176 h 4998171"/>
                <a:gd name="connsiteX171" fmla="*/ 977900 w 4570627"/>
                <a:gd name="connsiteY171" fmla="*/ 273049 h 4998171"/>
                <a:gd name="connsiteX172" fmla="*/ 1060450 w 4570627"/>
                <a:gd name="connsiteY172" fmla="*/ 177799 h 4998171"/>
                <a:gd name="connsiteX173" fmla="*/ 812800 w 4570627"/>
                <a:gd name="connsiteY173" fmla="*/ 12700 h 4998171"/>
                <a:gd name="connsiteX174" fmla="*/ 812801 w 4570627"/>
                <a:gd name="connsiteY174" fmla="*/ 12700 h 4998171"/>
                <a:gd name="connsiteX175" fmla="*/ 869950 w 4570627"/>
                <a:gd name="connsiteY175" fmla="*/ 69849 h 4998171"/>
                <a:gd name="connsiteX176" fmla="*/ 920750 w 4570627"/>
                <a:gd name="connsiteY176" fmla="*/ 57149 h 4998171"/>
                <a:gd name="connsiteX177" fmla="*/ 920750 w 4570627"/>
                <a:gd name="connsiteY177" fmla="*/ 57150 h 4998171"/>
                <a:gd name="connsiteX178" fmla="*/ 869950 w 4570627"/>
                <a:gd name="connsiteY178" fmla="*/ 69850 h 4998171"/>
                <a:gd name="connsiteX179" fmla="*/ 812800 w 4570627"/>
                <a:gd name="connsiteY179" fmla="*/ 12700 h 4998171"/>
                <a:gd name="connsiteX180" fmla="*/ 908050 w 4570627"/>
                <a:gd name="connsiteY180" fmla="*/ 6349 h 4998171"/>
                <a:gd name="connsiteX181" fmla="*/ 1022350 w 4570627"/>
                <a:gd name="connsiteY181" fmla="*/ 50799 h 4998171"/>
                <a:gd name="connsiteX182" fmla="*/ 1022350 w 4570627"/>
                <a:gd name="connsiteY182" fmla="*/ 50800 h 4998171"/>
                <a:gd name="connsiteX183" fmla="*/ 984250 w 4570627"/>
                <a:gd name="connsiteY183" fmla="*/ 0 h 4998171"/>
                <a:gd name="connsiteX184" fmla="*/ 908051 w 4570627"/>
                <a:gd name="connsiteY184" fmla="*/ 6350 h 4998171"/>
                <a:gd name="connsiteX185" fmla="*/ 908050 w 4570627"/>
                <a:gd name="connsiteY185" fmla="*/ 6349 h 4998171"/>
                <a:gd name="connsiteX0" fmla="*/ 555179 w 4570627"/>
                <a:gd name="connsiteY0" fmla="*/ 4669234 h 4998171"/>
                <a:gd name="connsiteX1" fmla="*/ 555179 w 4570627"/>
                <a:gd name="connsiteY1" fmla="*/ 4669234 h 4998171"/>
                <a:gd name="connsiteX2" fmla="*/ 546724 w 4570627"/>
                <a:gd name="connsiteY2" fmla="*/ 4693834 h 4998171"/>
                <a:gd name="connsiteX3" fmla="*/ 546723 w 4570627"/>
                <a:gd name="connsiteY3" fmla="*/ 4693834 h 4998171"/>
                <a:gd name="connsiteX4" fmla="*/ 555179 w 4570627"/>
                <a:gd name="connsiteY4" fmla="*/ 4669234 h 4998171"/>
                <a:gd name="connsiteX5" fmla="*/ 1060450 w 4570627"/>
                <a:gd name="connsiteY5" fmla="*/ 177799 h 4998171"/>
                <a:gd name="connsiteX6" fmla="*/ 1149350 w 4570627"/>
                <a:gd name="connsiteY6" fmla="*/ 215899 h 4998171"/>
                <a:gd name="connsiteX7" fmla="*/ 1263650 w 4570627"/>
                <a:gd name="connsiteY7" fmla="*/ 292099 h 4998171"/>
                <a:gd name="connsiteX8" fmla="*/ 1320800 w 4570627"/>
                <a:gd name="connsiteY8" fmla="*/ 412749 h 4998171"/>
                <a:gd name="connsiteX9" fmla="*/ 1371600 w 4570627"/>
                <a:gd name="connsiteY9" fmla="*/ 393699 h 4998171"/>
                <a:gd name="connsiteX10" fmla="*/ 1479550 w 4570627"/>
                <a:gd name="connsiteY10" fmla="*/ 501649 h 4998171"/>
                <a:gd name="connsiteX11" fmla="*/ 1530350 w 4570627"/>
                <a:gd name="connsiteY11" fmla="*/ 666749 h 4998171"/>
                <a:gd name="connsiteX12" fmla="*/ 1612900 w 4570627"/>
                <a:gd name="connsiteY12" fmla="*/ 711199 h 4998171"/>
                <a:gd name="connsiteX13" fmla="*/ 1638300 w 4570627"/>
                <a:gd name="connsiteY13" fmla="*/ 641349 h 4998171"/>
                <a:gd name="connsiteX14" fmla="*/ 1739900 w 4570627"/>
                <a:gd name="connsiteY14" fmla="*/ 647699 h 4998171"/>
                <a:gd name="connsiteX15" fmla="*/ 1746250 w 4570627"/>
                <a:gd name="connsiteY15" fmla="*/ 596899 h 4998171"/>
                <a:gd name="connsiteX16" fmla="*/ 1689100 w 4570627"/>
                <a:gd name="connsiteY16" fmla="*/ 565149 h 4998171"/>
                <a:gd name="connsiteX17" fmla="*/ 1638300 w 4570627"/>
                <a:gd name="connsiteY17" fmla="*/ 520699 h 4998171"/>
                <a:gd name="connsiteX18" fmla="*/ 1625600 w 4570627"/>
                <a:gd name="connsiteY18" fmla="*/ 469899 h 4998171"/>
                <a:gd name="connsiteX19" fmla="*/ 1778000 w 4570627"/>
                <a:gd name="connsiteY19" fmla="*/ 412749 h 4998171"/>
                <a:gd name="connsiteX20" fmla="*/ 1879600 w 4570627"/>
                <a:gd name="connsiteY20" fmla="*/ 425449 h 4998171"/>
                <a:gd name="connsiteX21" fmla="*/ 1873250 w 4570627"/>
                <a:gd name="connsiteY21" fmla="*/ 488949 h 4998171"/>
                <a:gd name="connsiteX22" fmla="*/ 1981200 w 4570627"/>
                <a:gd name="connsiteY22" fmla="*/ 482599 h 4998171"/>
                <a:gd name="connsiteX23" fmla="*/ 2006600 w 4570627"/>
                <a:gd name="connsiteY23" fmla="*/ 482599 h 4998171"/>
                <a:gd name="connsiteX24" fmla="*/ 2032000 w 4570627"/>
                <a:gd name="connsiteY24" fmla="*/ 584199 h 4998171"/>
                <a:gd name="connsiteX25" fmla="*/ 2133600 w 4570627"/>
                <a:gd name="connsiteY25" fmla="*/ 596899 h 4998171"/>
                <a:gd name="connsiteX26" fmla="*/ 2171700 w 4570627"/>
                <a:gd name="connsiteY26" fmla="*/ 463549 h 4998171"/>
                <a:gd name="connsiteX27" fmla="*/ 2146300 w 4570627"/>
                <a:gd name="connsiteY27" fmla="*/ 323849 h 4998171"/>
                <a:gd name="connsiteX28" fmla="*/ 2216150 w 4570627"/>
                <a:gd name="connsiteY28" fmla="*/ 241299 h 4998171"/>
                <a:gd name="connsiteX29" fmla="*/ 2279650 w 4570627"/>
                <a:gd name="connsiteY29" fmla="*/ 234949 h 4998171"/>
                <a:gd name="connsiteX30" fmla="*/ 2305050 w 4570627"/>
                <a:gd name="connsiteY30" fmla="*/ 330199 h 4998171"/>
                <a:gd name="connsiteX31" fmla="*/ 2374900 w 4570627"/>
                <a:gd name="connsiteY31" fmla="*/ 393699 h 4998171"/>
                <a:gd name="connsiteX32" fmla="*/ 2381250 w 4570627"/>
                <a:gd name="connsiteY32" fmla="*/ 457199 h 4998171"/>
                <a:gd name="connsiteX33" fmla="*/ 2514600 w 4570627"/>
                <a:gd name="connsiteY33" fmla="*/ 406399 h 4998171"/>
                <a:gd name="connsiteX34" fmla="*/ 2641600 w 4570627"/>
                <a:gd name="connsiteY34" fmla="*/ 380999 h 4998171"/>
                <a:gd name="connsiteX35" fmla="*/ 2686050 w 4570627"/>
                <a:gd name="connsiteY35" fmla="*/ 419099 h 4998171"/>
                <a:gd name="connsiteX36" fmla="*/ 2774950 w 4570627"/>
                <a:gd name="connsiteY36" fmla="*/ 368299 h 4998171"/>
                <a:gd name="connsiteX37" fmla="*/ 2796953 w 4570627"/>
                <a:gd name="connsiteY37" fmla="*/ 370395 h 4998171"/>
                <a:gd name="connsiteX38" fmla="*/ 2787650 w 4570627"/>
                <a:gd name="connsiteY38" fmla="*/ 349251 h 4998171"/>
                <a:gd name="connsiteX39" fmla="*/ 2857500 w 4570627"/>
                <a:gd name="connsiteY39" fmla="*/ 508000 h 4998171"/>
                <a:gd name="connsiteX40" fmla="*/ 2971800 w 4570627"/>
                <a:gd name="connsiteY40" fmla="*/ 533400 h 4998171"/>
                <a:gd name="connsiteX41" fmla="*/ 3054350 w 4570627"/>
                <a:gd name="connsiteY41" fmla="*/ 552450 h 4998171"/>
                <a:gd name="connsiteX42" fmla="*/ 3093057 w 4570627"/>
                <a:gd name="connsiteY42" fmla="*/ 707280 h 4998171"/>
                <a:gd name="connsiteX43" fmla="*/ 3011086 w 4570627"/>
                <a:gd name="connsiteY43" fmla="*/ 588422 h 4998171"/>
                <a:gd name="connsiteX44" fmla="*/ 2924805 w 4570627"/>
                <a:gd name="connsiteY44" fmla="*/ 674703 h 4998171"/>
                <a:gd name="connsiteX45" fmla="*/ 3026774 w 4570627"/>
                <a:gd name="connsiteY45" fmla="*/ 784515 h 4998171"/>
                <a:gd name="connsiteX46" fmla="*/ 3050305 w 4570627"/>
                <a:gd name="connsiteY46" fmla="*/ 957077 h 4998171"/>
                <a:gd name="connsiteX47" fmla="*/ 3348367 w 4570627"/>
                <a:gd name="connsiteY47" fmla="*/ 1129640 h 4998171"/>
                <a:gd name="connsiteX48" fmla="*/ 3411117 w 4570627"/>
                <a:gd name="connsiteY48" fmla="*/ 1239452 h 4998171"/>
                <a:gd name="connsiteX49" fmla="*/ 3262086 w 4570627"/>
                <a:gd name="connsiteY49" fmla="*/ 1419858 h 4998171"/>
                <a:gd name="connsiteX50" fmla="*/ 3395429 w 4570627"/>
                <a:gd name="connsiteY50" fmla="*/ 1663014 h 4998171"/>
                <a:gd name="connsiteX51" fmla="*/ 3489554 w 4570627"/>
                <a:gd name="connsiteY51" fmla="*/ 1945388 h 4998171"/>
                <a:gd name="connsiteX52" fmla="*/ 3638585 w 4570627"/>
                <a:gd name="connsiteY52" fmla="*/ 2110107 h 4998171"/>
                <a:gd name="connsiteX53" fmla="*/ 3756241 w 4570627"/>
                <a:gd name="connsiteY53" fmla="*/ 2015982 h 4998171"/>
                <a:gd name="connsiteX54" fmla="*/ 3905271 w 4570627"/>
                <a:gd name="connsiteY54" fmla="*/ 2259138 h 4998171"/>
                <a:gd name="connsiteX55" fmla="*/ 4007240 w 4570627"/>
                <a:gd name="connsiteY55" fmla="*/ 2376794 h 4998171"/>
                <a:gd name="connsiteX56" fmla="*/ 4124896 w 4570627"/>
                <a:gd name="connsiteY56" fmla="*/ 2376794 h 4998171"/>
                <a:gd name="connsiteX57" fmla="*/ 4328833 w 4570627"/>
                <a:gd name="connsiteY57" fmla="*/ 2659168 h 4998171"/>
                <a:gd name="connsiteX58" fmla="*/ 4446489 w 4570627"/>
                <a:gd name="connsiteY58" fmla="*/ 2643481 h 4998171"/>
                <a:gd name="connsiteX59" fmla="*/ 4564145 w 4570627"/>
                <a:gd name="connsiteY59" fmla="*/ 2768981 h 4998171"/>
                <a:gd name="connsiteX60" fmla="*/ 4570627 w 4570627"/>
                <a:gd name="connsiteY60" fmla="*/ 2778981 h 4998171"/>
                <a:gd name="connsiteX61" fmla="*/ 4493946 w 4570627"/>
                <a:gd name="connsiteY61" fmla="*/ 3147049 h 4998171"/>
                <a:gd name="connsiteX62" fmla="*/ 4274322 w 4570627"/>
                <a:gd name="connsiteY62" fmla="*/ 3162736 h 4998171"/>
                <a:gd name="connsiteX63" fmla="*/ 4180197 w 4570627"/>
                <a:gd name="connsiteY63" fmla="*/ 3492173 h 4998171"/>
                <a:gd name="connsiteX64" fmla="*/ 3819386 w 4570627"/>
                <a:gd name="connsiteY64" fmla="*/ 3617673 h 4998171"/>
                <a:gd name="connsiteX65" fmla="*/ 3552699 w 4570627"/>
                <a:gd name="connsiteY65" fmla="*/ 3774548 h 4998171"/>
                <a:gd name="connsiteX66" fmla="*/ 3552699 w 4570627"/>
                <a:gd name="connsiteY66" fmla="*/ 3884360 h 4998171"/>
                <a:gd name="connsiteX67" fmla="*/ 3788011 w 4570627"/>
                <a:gd name="connsiteY67" fmla="*/ 4088297 h 4998171"/>
                <a:gd name="connsiteX68" fmla="*/ 3772323 w 4570627"/>
                <a:gd name="connsiteY68" fmla="*/ 4307922 h 4998171"/>
                <a:gd name="connsiteX69" fmla="*/ 3866448 w 4570627"/>
                <a:gd name="connsiteY69" fmla="*/ 4417734 h 4998171"/>
                <a:gd name="connsiteX70" fmla="*/ 3897823 w 4570627"/>
                <a:gd name="connsiteY70" fmla="*/ 4653047 h 4998171"/>
                <a:gd name="connsiteX71" fmla="*/ 3819386 w 4570627"/>
                <a:gd name="connsiteY71" fmla="*/ 4762859 h 4998171"/>
                <a:gd name="connsiteX72" fmla="*/ 3662511 w 4570627"/>
                <a:gd name="connsiteY72" fmla="*/ 4684421 h 4998171"/>
                <a:gd name="connsiteX73" fmla="*/ 3615449 w 4570627"/>
                <a:gd name="connsiteY73" fmla="*/ 4605984 h 4998171"/>
                <a:gd name="connsiteX74" fmla="*/ 3615449 w 4570627"/>
                <a:gd name="connsiteY74" fmla="*/ 4464797 h 4998171"/>
                <a:gd name="connsiteX75" fmla="*/ 3458574 w 4570627"/>
                <a:gd name="connsiteY75" fmla="*/ 4402047 h 4998171"/>
                <a:gd name="connsiteX76" fmla="*/ 3395824 w 4570627"/>
                <a:gd name="connsiteY76" fmla="*/ 4527547 h 4998171"/>
                <a:gd name="connsiteX77" fmla="*/ 3160513 w 4570627"/>
                <a:gd name="connsiteY77" fmla="*/ 4449109 h 4998171"/>
                <a:gd name="connsiteX78" fmla="*/ 3144825 w 4570627"/>
                <a:gd name="connsiteY78" fmla="*/ 4386359 h 4998171"/>
                <a:gd name="connsiteX79" fmla="*/ 2940888 w 4570627"/>
                <a:gd name="connsiteY79" fmla="*/ 4464797 h 4998171"/>
                <a:gd name="connsiteX80" fmla="*/ 2831076 w 4570627"/>
                <a:gd name="connsiteY80" fmla="*/ 4574609 h 4998171"/>
                <a:gd name="connsiteX81" fmla="*/ 2564389 w 4570627"/>
                <a:gd name="connsiteY81" fmla="*/ 4605984 h 4998171"/>
                <a:gd name="connsiteX82" fmla="*/ 2329077 w 4570627"/>
                <a:gd name="connsiteY82" fmla="*/ 4621672 h 4998171"/>
                <a:gd name="connsiteX83" fmla="*/ 2125140 w 4570627"/>
                <a:gd name="connsiteY83" fmla="*/ 4809921 h 4998171"/>
                <a:gd name="connsiteX84" fmla="*/ 1936891 w 4570627"/>
                <a:gd name="connsiteY84" fmla="*/ 4856984 h 4998171"/>
                <a:gd name="connsiteX85" fmla="*/ 1717266 w 4570627"/>
                <a:gd name="connsiteY85" fmla="*/ 4747171 h 4998171"/>
                <a:gd name="connsiteX86" fmla="*/ 1701579 w 4570627"/>
                <a:gd name="connsiteY86" fmla="*/ 4621672 h 4998171"/>
                <a:gd name="connsiteX87" fmla="*/ 1576079 w 4570627"/>
                <a:gd name="connsiteY87" fmla="*/ 4574609 h 4998171"/>
                <a:gd name="connsiteX88" fmla="*/ 1419205 w 4570627"/>
                <a:gd name="connsiteY88" fmla="*/ 4574609 h 4998171"/>
                <a:gd name="connsiteX89" fmla="*/ 1340768 w 4570627"/>
                <a:gd name="connsiteY89" fmla="*/ 4668734 h 4998171"/>
                <a:gd name="connsiteX90" fmla="*/ 1309393 w 4570627"/>
                <a:gd name="connsiteY90" fmla="*/ 4825609 h 4998171"/>
                <a:gd name="connsiteX91" fmla="*/ 1246643 w 4570627"/>
                <a:gd name="connsiteY91" fmla="*/ 4919734 h 4998171"/>
                <a:gd name="connsiteX92" fmla="*/ 1152518 w 4570627"/>
                <a:gd name="connsiteY92" fmla="*/ 4998171 h 4998171"/>
                <a:gd name="connsiteX93" fmla="*/ 964268 w 4570627"/>
                <a:gd name="connsiteY93" fmla="*/ 4951109 h 4998171"/>
                <a:gd name="connsiteX94" fmla="*/ 948581 w 4570627"/>
                <a:gd name="connsiteY94" fmla="*/ 4684421 h 4998171"/>
                <a:gd name="connsiteX95" fmla="*/ 807394 w 4570627"/>
                <a:gd name="connsiteY95" fmla="*/ 4590297 h 4998171"/>
                <a:gd name="connsiteX96" fmla="*/ 773692 w 4570627"/>
                <a:gd name="connsiteY96" fmla="*/ 4590297 h 4998171"/>
                <a:gd name="connsiteX97" fmla="*/ 802640 w 4570627"/>
                <a:gd name="connsiteY97" fmla="*/ 4538979 h 4998171"/>
                <a:gd name="connsiteX98" fmla="*/ 894080 w 4570627"/>
                <a:gd name="connsiteY98" fmla="*/ 4439919 h 4998171"/>
                <a:gd name="connsiteX99" fmla="*/ 1122680 w 4570627"/>
                <a:gd name="connsiteY99" fmla="*/ 4470399 h 4998171"/>
                <a:gd name="connsiteX100" fmla="*/ 1168400 w 4570627"/>
                <a:gd name="connsiteY100" fmla="*/ 4401819 h 4998171"/>
                <a:gd name="connsiteX101" fmla="*/ 1122680 w 4570627"/>
                <a:gd name="connsiteY101" fmla="*/ 4272279 h 4998171"/>
                <a:gd name="connsiteX102" fmla="*/ 1160780 w 4570627"/>
                <a:gd name="connsiteY102" fmla="*/ 4218939 h 4998171"/>
                <a:gd name="connsiteX103" fmla="*/ 1130300 w 4570627"/>
                <a:gd name="connsiteY103" fmla="*/ 4127499 h 4998171"/>
                <a:gd name="connsiteX104" fmla="*/ 1160780 w 4570627"/>
                <a:gd name="connsiteY104" fmla="*/ 3807459 h 4998171"/>
                <a:gd name="connsiteX105" fmla="*/ 1038860 w 4570627"/>
                <a:gd name="connsiteY105" fmla="*/ 3395979 h 4998171"/>
                <a:gd name="connsiteX106" fmla="*/ 1130300 w 4570627"/>
                <a:gd name="connsiteY106" fmla="*/ 3235959 h 4998171"/>
                <a:gd name="connsiteX107" fmla="*/ 1183640 w 4570627"/>
                <a:gd name="connsiteY107" fmla="*/ 3274059 h 4998171"/>
                <a:gd name="connsiteX108" fmla="*/ 1336040 w 4570627"/>
                <a:gd name="connsiteY108" fmla="*/ 3174999 h 4998171"/>
                <a:gd name="connsiteX109" fmla="*/ 1351280 w 4570627"/>
                <a:gd name="connsiteY109" fmla="*/ 3045459 h 4998171"/>
                <a:gd name="connsiteX110" fmla="*/ 1290320 w 4570627"/>
                <a:gd name="connsiteY110" fmla="*/ 2969259 h 4998171"/>
                <a:gd name="connsiteX111" fmla="*/ 1290320 w 4570627"/>
                <a:gd name="connsiteY111" fmla="*/ 2923539 h 4998171"/>
                <a:gd name="connsiteX112" fmla="*/ 1366520 w 4570627"/>
                <a:gd name="connsiteY112" fmla="*/ 2923539 h 4998171"/>
                <a:gd name="connsiteX113" fmla="*/ 1389380 w 4570627"/>
                <a:gd name="connsiteY113" fmla="*/ 2969259 h 4998171"/>
                <a:gd name="connsiteX114" fmla="*/ 1518920 w 4570627"/>
                <a:gd name="connsiteY114" fmla="*/ 2938779 h 4998171"/>
                <a:gd name="connsiteX115" fmla="*/ 1503680 w 4570627"/>
                <a:gd name="connsiteY115" fmla="*/ 2847339 h 4998171"/>
                <a:gd name="connsiteX116" fmla="*/ 1450340 w 4570627"/>
                <a:gd name="connsiteY116" fmla="*/ 2786379 h 4998171"/>
                <a:gd name="connsiteX117" fmla="*/ 1488440 w 4570627"/>
                <a:gd name="connsiteY117" fmla="*/ 2573019 h 4998171"/>
                <a:gd name="connsiteX118" fmla="*/ 1389380 w 4570627"/>
                <a:gd name="connsiteY118" fmla="*/ 2420619 h 4998171"/>
                <a:gd name="connsiteX119" fmla="*/ 1297940 w 4570627"/>
                <a:gd name="connsiteY119" fmla="*/ 2405379 h 4998171"/>
                <a:gd name="connsiteX120" fmla="*/ 1244600 w 4570627"/>
                <a:gd name="connsiteY120" fmla="*/ 2306319 h 4998171"/>
                <a:gd name="connsiteX121" fmla="*/ 1282700 w 4570627"/>
                <a:gd name="connsiteY121" fmla="*/ 2252979 h 4998171"/>
                <a:gd name="connsiteX122" fmla="*/ 1183640 w 4570627"/>
                <a:gd name="connsiteY122" fmla="*/ 2146299 h 4998171"/>
                <a:gd name="connsiteX123" fmla="*/ 1168400 w 4570627"/>
                <a:gd name="connsiteY123" fmla="*/ 2047239 h 4998171"/>
                <a:gd name="connsiteX124" fmla="*/ 1183640 w 4570627"/>
                <a:gd name="connsiteY124" fmla="*/ 2016759 h 4998171"/>
                <a:gd name="connsiteX125" fmla="*/ 1153160 w 4570627"/>
                <a:gd name="connsiteY125" fmla="*/ 1887219 h 4998171"/>
                <a:gd name="connsiteX126" fmla="*/ 1176020 w 4570627"/>
                <a:gd name="connsiteY126" fmla="*/ 1871979 h 4998171"/>
                <a:gd name="connsiteX127" fmla="*/ 1145540 w 4570627"/>
                <a:gd name="connsiteY127" fmla="*/ 1658619 h 4998171"/>
                <a:gd name="connsiteX128" fmla="*/ 1099820 w 4570627"/>
                <a:gd name="connsiteY128" fmla="*/ 1620519 h 4998171"/>
                <a:gd name="connsiteX129" fmla="*/ 1076960 w 4570627"/>
                <a:gd name="connsiteY129" fmla="*/ 1643379 h 4998171"/>
                <a:gd name="connsiteX130" fmla="*/ 1069340 w 4570627"/>
                <a:gd name="connsiteY130" fmla="*/ 1711959 h 4998171"/>
                <a:gd name="connsiteX131" fmla="*/ 970280 w 4570627"/>
                <a:gd name="connsiteY131" fmla="*/ 1719579 h 4998171"/>
                <a:gd name="connsiteX132" fmla="*/ 932180 w 4570627"/>
                <a:gd name="connsiteY132" fmla="*/ 1574799 h 4998171"/>
                <a:gd name="connsiteX133" fmla="*/ 871220 w 4570627"/>
                <a:gd name="connsiteY133" fmla="*/ 1620519 h 4998171"/>
                <a:gd name="connsiteX134" fmla="*/ 855980 w 4570627"/>
                <a:gd name="connsiteY134" fmla="*/ 1574799 h 4998171"/>
                <a:gd name="connsiteX135" fmla="*/ 924560 w 4570627"/>
                <a:gd name="connsiteY135" fmla="*/ 1513839 h 4998171"/>
                <a:gd name="connsiteX136" fmla="*/ 855980 w 4570627"/>
                <a:gd name="connsiteY136" fmla="*/ 1384299 h 4998171"/>
                <a:gd name="connsiteX137" fmla="*/ 825500 w 4570627"/>
                <a:gd name="connsiteY137" fmla="*/ 1330959 h 4998171"/>
                <a:gd name="connsiteX138" fmla="*/ 787400 w 4570627"/>
                <a:gd name="connsiteY138" fmla="*/ 1430019 h 4998171"/>
                <a:gd name="connsiteX139" fmla="*/ 772160 w 4570627"/>
                <a:gd name="connsiteY139" fmla="*/ 1369059 h 4998171"/>
                <a:gd name="connsiteX140" fmla="*/ 688340 w 4570627"/>
                <a:gd name="connsiteY140" fmla="*/ 1422399 h 4998171"/>
                <a:gd name="connsiteX141" fmla="*/ 695960 w 4570627"/>
                <a:gd name="connsiteY141" fmla="*/ 1277619 h 4998171"/>
                <a:gd name="connsiteX142" fmla="*/ 497840 w 4570627"/>
                <a:gd name="connsiteY142" fmla="*/ 1262379 h 4998171"/>
                <a:gd name="connsiteX143" fmla="*/ 353060 w 4570627"/>
                <a:gd name="connsiteY143" fmla="*/ 1315719 h 4998171"/>
                <a:gd name="connsiteX144" fmla="*/ 467360 w 4570627"/>
                <a:gd name="connsiteY144" fmla="*/ 1376679 h 4998171"/>
                <a:gd name="connsiteX145" fmla="*/ 474980 w 4570627"/>
                <a:gd name="connsiteY145" fmla="*/ 1452879 h 4998171"/>
                <a:gd name="connsiteX146" fmla="*/ 391160 w 4570627"/>
                <a:gd name="connsiteY146" fmla="*/ 1452879 h 4998171"/>
                <a:gd name="connsiteX147" fmla="*/ 360680 w 4570627"/>
                <a:gd name="connsiteY147" fmla="*/ 1551939 h 4998171"/>
                <a:gd name="connsiteX148" fmla="*/ 132080 w 4570627"/>
                <a:gd name="connsiteY148" fmla="*/ 1567179 h 4998171"/>
                <a:gd name="connsiteX149" fmla="*/ 69850 w 4570627"/>
                <a:gd name="connsiteY149" fmla="*/ 1533990 h 4998171"/>
                <a:gd name="connsiteX150" fmla="*/ 69850 w 4570627"/>
                <a:gd name="connsiteY150" fmla="*/ 1435099 h 4998171"/>
                <a:gd name="connsiteX151" fmla="*/ 146050 w 4570627"/>
                <a:gd name="connsiteY151" fmla="*/ 1295399 h 4998171"/>
                <a:gd name="connsiteX152" fmla="*/ 82550 w 4570627"/>
                <a:gd name="connsiteY152" fmla="*/ 1193799 h 4998171"/>
                <a:gd name="connsiteX153" fmla="*/ 25400 w 4570627"/>
                <a:gd name="connsiteY153" fmla="*/ 1168399 h 4998171"/>
                <a:gd name="connsiteX154" fmla="*/ 31750 w 4570627"/>
                <a:gd name="connsiteY154" fmla="*/ 952499 h 4998171"/>
                <a:gd name="connsiteX155" fmla="*/ 0 w 4570627"/>
                <a:gd name="connsiteY155" fmla="*/ 876299 h 4998171"/>
                <a:gd name="connsiteX156" fmla="*/ 0 w 4570627"/>
                <a:gd name="connsiteY156" fmla="*/ 774699 h 4998171"/>
                <a:gd name="connsiteX157" fmla="*/ 107950 w 4570627"/>
                <a:gd name="connsiteY157" fmla="*/ 755649 h 4998171"/>
                <a:gd name="connsiteX158" fmla="*/ 127000 w 4570627"/>
                <a:gd name="connsiteY158" fmla="*/ 806449 h 4998171"/>
                <a:gd name="connsiteX159" fmla="*/ 215900 w 4570627"/>
                <a:gd name="connsiteY159" fmla="*/ 749299 h 4998171"/>
                <a:gd name="connsiteX160" fmla="*/ 368300 w 4570627"/>
                <a:gd name="connsiteY160" fmla="*/ 749299 h 4998171"/>
                <a:gd name="connsiteX161" fmla="*/ 368300 w 4570627"/>
                <a:gd name="connsiteY161" fmla="*/ 800099 h 4998171"/>
                <a:gd name="connsiteX162" fmla="*/ 495300 w 4570627"/>
                <a:gd name="connsiteY162" fmla="*/ 800099 h 4998171"/>
                <a:gd name="connsiteX163" fmla="*/ 488950 w 4570627"/>
                <a:gd name="connsiteY163" fmla="*/ 711199 h 4998171"/>
                <a:gd name="connsiteX164" fmla="*/ 488950 w 4570627"/>
                <a:gd name="connsiteY164" fmla="*/ 603249 h 4998171"/>
                <a:gd name="connsiteX165" fmla="*/ 596900 w 4570627"/>
                <a:gd name="connsiteY165" fmla="*/ 615949 h 4998171"/>
                <a:gd name="connsiteX166" fmla="*/ 679450 w 4570627"/>
                <a:gd name="connsiteY166" fmla="*/ 514349 h 4998171"/>
                <a:gd name="connsiteX167" fmla="*/ 717550 w 4570627"/>
                <a:gd name="connsiteY167" fmla="*/ 311149 h 4998171"/>
                <a:gd name="connsiteX168" fmla="*/ 812800 w 4570627"/>
                <a:gd name="connsiteY168" fmla="*/ 361949 h 4998171"/>
                <a:gd name="connsiteX169" fmla="*/ 952500 w 4570627"/>
                <a:gd name="connsiteY169" fmla="*/ 266699 h 4998171"/>
                <a:gd name="connsiteX170" fmla="*/ 979517 w 4570627"/>
                <a:gd name="connsiteY170" fmla="*/ 226176 h 4998171"/>
                <a:gd name="connsiteX171" fmla="*/ 977900 w 4570627"/>
                <a:gd name="connsiteY171" fmla="*/ 273049 h 4998171"/>
                <a:gd name="connsiteX172" fmla="*/ 1060450 w 4570627"/>
                <a:gd name="connsiteY172" fmla="*/ 177799 h 4998171"/>
                <a:gd name="connsiteX173" fmla="*/ 812800 w 4570627"/>
                <a:gd name="connsiteY173" fmla="*/ 12700 h 4998171"/>
                <a:gd name="connsiteX174" fmla="*/ 812801 w 4570627"/>
                <a:gd name="connsiteY174" fmla="*/ 12700 h 4998171"/>
                <a:gd name="connsiteX175" fmla="*/ 869950 w 4570627"/>
                <a:gd name="connsiteY175" fmla="*/ 69849 h 4998171"/>
                <a:gd name="connsiteX176" fmla="*/ 920750 w 4570627"/>
                <a:gd name="connsiteY176" fmla="*/ 57149 h 4998171"/>
                <a:gd name="connsiteX177" fmla="*/ 920750 w 4570627"/>
                <a:gd name="connsiteY177" fmla="*/ 57150 h 4998171"/>
                <a:gd name="connsiteX178" fmla="*/ 869950 w 4570627"/>
                <a:gd name="connsiteY178" fmla="*/ 69850 h 4998171"/>
                <a:gd name="connsiteX179" fmla="*/ 812800 w 4570627"/>
                <a:gd name="connsiteY179" fmla="*/ 12700 h 4998171"/>
                <a:gd name="connsiteX180" fmla="*/ 908051 w 4570627"/>
                <a:gd name="connsiteY180" fmla="*/ 6350 h 4998171"/>
                <a:gd name="connsiteX181" fmla="*/ 1022350 w 4570627"/>
                <a:gd name="connsiteY181" fmla="*/ 50799 h 4998171"/>
                <a:gd name="connsiteX182" fmla="*/ 1022350 w 4570627"/>
                <a:gd name="connsiteY182" fmla="*/ 50800 h 4998171"/>
                <a:gd name="connsiteX183" fmla="*/ 984250 w 4570627"/>
                <a:gd name="connsiteY183" fmla="*/ 0 h 4998171"/>
                <a:gd name="connsiteX184" fmla="*/ 908051 w 4570627"/>
                <a:gd name="connsiteY184" fmla="*/ 6350 h 4998171"/>
                <a:gd name="connsiteX0" fmla="*/ 555179 w 4570627"/>
                <a:gd name="connsiteY0" fmla="*/ 4669234 h 4998171"/>
                <a:gd name="connsiteX1" fmla="*/ 555179 w 4570627"/>
                <a:gd name="connsiteY1" fmla="*/ 4669234 h 4998171"/>
                <a:gd name="connsiteX2" fmla="*/ 546724 w 4570627"/>
                <a:gd name="connsiteY2" fmla="*/ 4693834 h 4998171"/>
                <a:gd name="connsiteX3" fmla="*/ 546723 w 4570627"/>
                <a:gd name="connsiteY3" fmla="*/ 4693834 h 4998171"/>
                <a:gd name="connsiteX4" fmla="*/ 555179 w 4570627"/>
                <a:gd name="connsiteY4" fmla="*/ 4669234 h 4998171"/>
                <a:gd name="connsiteX5" fmla="*/ 1060450 w 4570627"/>
                <a:gd name="connsiteY5" fmla="*/ 177799 h 4998171"/>
                <a:gd name="connsiteX6" fmla="*/ 1149350 w 4570627"/>
                <a:gd name="connsiteY6" fmla="*/ 215899 h 4998171"/>
                <a:gd name="connsiteX7" fmla="*/ 1263650 w 4570627"/>
                <a:gd name="connsiteY7" fmla="*/ 292099 h 4998171"/>
                <a:gd name="connsiteX8" fmla="*/ 1320800 w 4570627"/>
                <a:gd name="connsiteY8" fmla="*/ 412749 h 4998171"/>
                <a:gd name="connsiteX9" fmla="*/ 1371600 w 4570627"/>
                <a:gd name="connsiteY9" fmla="*/ 393699 h 4998171"/>
                <a:gd name="connsiteX10" fmla="*/ 1479550 w 4570627"/>
                <a:gd name="connsiteY10" fmla="*/ 501649 h 4998171"/>
                <a:gd name="connsiteX11" fmla="*/ 1530350 w 4570627"/>
                <a:gd name="connsiteY11" fmla="*/ 666749 h 4998171"/>
                <a:gd name="connsiteX12" fmla="*/ 1612900 w 4570627"/>
                <a:gd name="connsiteY12" fmla="*/ 711199 h 4998171"/>
                <a:gd name="connsiteX13" fmla="*/ 1638300 w 4570627"/>
                <a:gd name="connsiteY13" fmla="*/ 641349 h 4998171"/>
                <a:gd name="connsiteX14" fmla="*/ 1739900 w 4570627"/>
                <a:gd name="connsiteY14" fmla="*/ 647699 h 4998171"/>
                <a:gd name="connsiteX15" fmla="*/ 1746250 w 4570627"/>
                <a:gd name="connsiteY15" fmla="*/ 596899 h 4998171"/>
                <a:gd name="connsiteX16" fmla="*/ 1689100 w 4570627"/>
                <a:gd name="connsiteY16" fmla="*/ 565149 h 4998171"/>
                <a:gd name="connsiteX17" fmla="*/ 1638300 w 4570627"/>
                <a:gd name="connsiteY17" fmla="*/ 520699 h 4998171"/>
                <a:gd name="connsiteX18" fmla="*/ 1625600 w 4570627"/>
                <a:gd name="connsiteY18" fmla="*/ 469899 h 4998171"/>
                <a:gd name="connsiteX19" fmla="*/ 1778000 w 4570627"/>
                <a:gd name="connsiteY19" fmla="*/ 412749 h 4998171"/>
                <a:gd name="connsiteX20" fmla="*/ 1879600 w 4570627"/>
                <a:gd name="connsiteY20" fmla="*/ 425449 h 4998171"/>
                <a:gd name="connsiteX21" fmla="*/ 1873250 w 4570627"/>
                <a:gd name="connsiteY21" fmla="*/ 488949 h 4998171"/>
                <a:gd name="connsiteX22" fmla="*/ 1981200 w 4570627"/>
                <a:gd name="connsiteY22" fmla="*/ 482599 h 4998171"/>
                <a:gd name="connsiteX23" fmla="*/ 2006600 w 4570627"/>
                <a:gd name="connsiteY23" fmla="*/ 482599 h 4998171"/>
                <a:gd name="connsiteX24" fmla="*/ 2032000 w 4570627"/>
                <a:gd name="connsiteY24" fmla="*/ 584199 h 4998171"/>
                <a:gd name="connsiteX25" fmla="*/ 2133600 w 4570627"/>
                <a:gd name="connsiteY25" fmla="*/ 596899 h 4998171"/>
                <a:gd name="connsiteX26" fmla="*/ 2171700 w 4570627"/>
                <a:gd name="connsiteY26" fmla="*/ 463549 h 4998171"/>
                <a:gd name="connsiteX27" fmla="*/ 2146300 w 4570627"/>
                <a:gd name="connsiteY27" fmla="*/ 323849 h 4998171"/>
                <a:gd name="connsiteX28" fmla="*/ 2216150 w 4570627"/>
                <a:gd name="connsiteY28" fmla="*/ 241299 h 4998171"/>
                <a:gd name="connsiteX29" fmla="*/ 2279650 w 4570627"/>
                <a:gd name="connsiteY29" fmla="*/ 234949 h 4998171"/>
                <a:gd name="connsiteX30" fmla="*/ 2305050 w 4570627"/>
                <a:gd name="connsiteY30" fmla="*/ 330199 h 4998171"/>
                <a:gd name="connsiteX31" fmla="*/ 2374900 w 4570627"/>
                <a:gd name="connsiteY31" fmla="*/ 393699 h 4998171"/>
                <a:gd name="connsiteX32" fmla="*/ 2381250 w 4570627"/>
                <a:gd name="connsiteY32" fmla="*/ 457199 h 4998171"/>
                <a:gd name="connsiteX33" fmla="*/ 2514600 w 4570627"/>
                <a:gd name="connsiteY33" fmla="*/ 406399 h 4998171"/>
                <a:gd name="connsiteX34" fmla="*/ 2641600 w 4570627"/>
                <a:gd name="connsiteY34" fmla="*/ 380999 h 4998171"/>
                <a:gd name="connsiteX35" fmla="*/ 2686050 w 4570627"/>
                <a:gd name="connsiteY35" fmla="*/ 419099 h 4998171"/>
                <a:gd name="connsiteX36" fmla="*/ 2774950 w 4570627"/>
                <a:gd name="connsiteY36" fmla="*/ 368299 h 4998171"/>
                <a:gd name="connsiteX37" fmla="*/ 2796953 w 4570627"/>
                <a:gd name="connsiteY37" fmla="*/ 370395 h 4998171"/>
                <a:gd name="connsiteX38" fmla="*/ 2787650 w 4570627"/>
                <a:gd name="connsiteY38" fmla="*/ 349251 h 4998171"/>
                <a:gd name="connsiteX39" fmla="*/ 2857500 w 4570627"/>
                <a:gd name="connsiteY39" fmla="*/ 508000 h 4998171"/>
                <a:gd name="connsiteX40" fmla="*/ 2971800 w 4570627"/>
                <a:gd name="connsiteY40" fmla="*/ 533400 h 4998171"/>
                <a:gd name="connsiteX41" fmla="*/ 3054350 w 4570627"/>
                <a:gd name="connsiteY41" fmla="*/ 552450 h 4998171"/>
                <a:gd name="connsiteX42" fmla="*/ 3093057 w 4570627"/>
                <a:gd name="connsiteY42" fmla="*/ 707280 h 4998171"/>
                <a:gd name="connsiteX43" fmla="*/ 3011086 w 4570627"/>
                <a:gd name="connsiteY43" fmla="*/ 588422 h 4998171"/>
                <a:gd name="connsiteX44" fmla="*/ 2924805 w 4570627"/>
                <a:gd name="connsiteY44" fmla="*/ 674703 h 4998171"/>
                <a:gd name="connsiteX45" fmla="*/ 3026774 w 4570627"/>
                <a:gd name="connsiteY45" fmla="*/ 784515 h 4998171"/>
                <a:gd name="connsiteX46" fmla="*/ 3050305 w 4570627"/>
                <a:gd name="connsiteY46" fmla="*/ 957077 h 4998171"/>
                <a:gd name="connsiteX47" fmla="*/ 3348367 w 4570627"/>
                <a:gd name="connsiteY47" fmla="*/ 1129640 h 4998171"/>
                <a:gd name="connsiteX48" fmla="*/ 3411117 w 4570627"/>
                <a:gd name="connsiteY48" fmla="*/ 1239452 h 4998171"/>
                <a:gd name="connsiteX49" fmla="*/ 3262086 w 4570627"/>
                <a:gd name="connsiteY49" fmla="*/ 1419858 h 4998171"/>
                <a:gd name="connsiteX50" fmla="*/ 3395429 w 4570627"/>
                <a:gd name="connsiteY50" fmla="*/ 1663014 h 4998171"/>
                <a:gd name="connsiteX51" fmla="*/ 3489554 w 4570627"/>
                <a:gd name="connsiteY51" fmla="*/ 1945388 h 4998171"/>
                <a:gd name="connsiteX52" fmla="*/ 3638585 w 4570627"/>
                <a:gd name="connsiteY52" fmla="*/ 2110107 h 4998171"/>
                <a:gd name="connsiteX53" fmla="*/ 3756241 w 4570627"/>
                <a:gd name="connsiteY53" fmla="*/ 2015982 h 4998171"/>
                <a:gd name="connsiteX54" fmla="*/ 3905271 w 4570627"/>
                <a:gd name="connsiteY54" fmla="*/ 2259138 h 4998171"/>
                <a:gd name="connsiteX55" fmla="*/ 4007240 w 4570627"/>
                <a:gd name="connsiteY55" fmla="*/ 2376794 h 4998171"/>
                <a:gd name="connsiteX56" fmla="*/ 4124896 w 4570627"/>
                <a:gd name="connsiteY56" fmla="*/ 2376794 h 4998171"/>
                <a:gd name="connsiteX57" fmla="*/ 4328833 w 4570627"/>
                <a:gd name="connsiteY57" fmla="*/ 2659168 h 4998171"/>
                <a:gd name="connsiteX58" fmla="*/ 4446489 w 4570627"/>
                <a:gd name="connsiteY58" fmla="*/ 2643481 h 4998171"/>
                <a:gd name="connsiteX59" fmla="*/ 4564145 w 4570627"/>
                <a:gd name="connsiteY59" fmla="*/ 2768981 h 4998171"/>
                <a:gd name="connsiteX60" fmla="*/ 4570627 w 4570627"/>
                <a:gd name="connsiteY60" fmla="*/ 2778981 h 4998171"/>
                <a:gd name="connsiteX61" fmla="*/ 4493946 w 4570627"/>
                <a:gd name="connsiteY61" fmla="*/ 3147049 h 4998171"/>
                <a:gd name="connsiteX62" fmla="*/ 4274322 w 4570627"/>
                <a:gd name="connsiteY62" fmla="*/ 3162736 h 4998171"/>
                <a:gd name="connsiteX63" fmla="*/ 4180197 w 4570627"/>
                <a:gd name="connsiteY63" fmla="*/ 3492173 h 4998171"/>
                <a:gd name="connsiteX64" fmla="*/ 3819386 w 4570627"/>
                <a:gd name="connsiteY64" fmla="*/ 3617673 h 4998171"/>
                <a:gd name="connsiteX65" fmla="*/ 3552699 w 4570627"/>
                <a:gd name="connsiteY65" fmla="*/ 3774548 h 4998171"/>
                <a:gd name="connsiteX66" fmla="*/ 3552699 w 4570627"/>
                <a:gd name="connsiteY66" fmla="*/ 3884360 h 4998171"/>
                <a:gd name="connsiteX67" fmla="*/ 3788011 w 4570627"/>
                <a:gd name="connsiteY67" fmla="*/ 4088297 h 4998171"/>
                <a:gd name="connsiteX68" fmla="*/ 3772323 w 4570627"/>
                <a:gd name="connsiteY68" fmla="*/ 4307922 h 4998171"/>
                <a:gd name="connsiteX69" fmla="*/ 3866448 w 4570627"/>
                <a:gd name="connsiteY69" fmla="*/ 4417734 h 4998171"/>
                <a:gd name="connsiteX70" fmla="*/ 3897823 w 4570627"/>
                <a:gd name="connsiteY70" fmla="*/ 4653047 h 4998171"/>
                <a:gd name="connsiteX71" fmla="*/ 3819386 w 4570627"/>
                <a:gd name="connsiteY71" fmla="*/ 4762859 h 4998171"/>
                <a:gd name="connsiteX72" fmla="*/ 3662511 w 4570627"/>
                <a:gd name="connsiteY72" fmla="*/ 4684421 h 4998171"/>
                <a:gd name="connsiteX73" fmla="*/ 3615449 w 4570627"/>
                <a:gd name="connsiteY73" fmla="*/ 4605984 h 4998171"/>
                <a:gd name="connsiteX74" fmla="*/ 3615449 w 4570627"/>
                <a:gd name="connsiteY74" fmla="*/ 4464797 h 4998171"/>
                <a:gd name="connsiteX75" fmla="*/ 3458574 w 4570627"/>
                <a:gd name="connsiteY75" fmla="*/ 4402047 h 4998171"/>
                <a:gd name="connsiteX76" fmla="*/ 3395824 w 4570627"/>
                <a:gd name="connsiteY76" fmla="*/ 4527547 h 4998171"/>
                <a:gd name="connsiteX77" fmla="*/ 3160513 w 4570627"/>
                <a:gd name="connsiteY77" fmla="*/ 4449109 h 4998171"/>
                <a:gd name="connsiteX78" fmla="*/ 3144825 w 4570627"/>
                <a:gd name="connsiteY78" fmla="*/ 4386359 h 4998171"/>
                <a:gd name="connsiteX79" fmla="*/ 2940888 w 4570627"/>
                <a:gd name="connsiteY79" fmla="*/ 4464797 h 4998171"/>
                <a:gd name="connsiteX80" fmla="*/ 2831076 w 4570627"/>
                <a:gd name="connsiteY80" fmla="*/ 4574609 h 4998171"/>
                <a:gd name="connsiteX81" fmla="*/ 2564389 w 4570627"/>
                <a:gd name="connsiteY81" fmla="*/ 4605984 h 4998171"/>
                <a:gd name="connsiteX82" fmla="*/ 2329077 w 4570627"/>
                <a:gd name="connsiteY82" fmla="*/ 4621672 h 4998171"/>
                <a:gd name="connsiteX83" fmla="*/ 2125140 w 4570627"/>
                <a:gd name="connsiteY83" fmla="*/ 4809921 h 4998171"/>
                <a:gd name="connsiteX84" fmla="*/ 1936891 w 4570627"/>
                <a:gd name="connsiteY84" fmla="*/ 4856984 h 4998171"/>
                <a:gd name="connsiteX85" fmla="*/ 1717266 w 4570627"/>
                <a:gd name="connsiteY85" fmla="*/ 4747171 h 4998171"/>
                <a:gd name="connsiteX86" fmla="*/ 1701579 w 4570627"/>
                <a:gd name="connsiteY86" fmla="*/ 4621672 h 4998171"/>
                <a:gd name="connsiteX87" fmla="*/ 1576079 w 4570627"/>
                <a:gd name="connsiteY87" fmla="*/ 4574609 h 4998171"/>
                <a:gd name="connsiteX88" fmla="*/ 1419205 w 4570627"/>
                <a:gd name="connsiteY88" fmla="*/ 4574609 h 4998171"/>
                <a:gd name="connsiteX89" fmla="*/ 1340768 w 4570627"/>
                <a:gd name="connsiteY89" fmla="*/ 4668734 h 4998171"/>
                <a:gd name="connsiteX90" fmla="*/ 1309393 w 4570627"/>
                <a:gd name="connsiteY90" fmla="*/ 4825609 h 4998171"/>
                <a:gd name="connsiteX91" fmla="*/ 1246643 w 4570627"/>
                <a:gd name="connsiteY91" fmla="*/ 4919734 h 4998171"/>
                <a:gd name="connsiteX92" fmla="*/ 1152518 w 4570627"/>
                <a:gd name="connsiteY92" fmla="*/ 4998171 h 4998171"/>
                <a:gd name="connsiteX93" fmla="*/ 964268 w 4570627"/>
                <a:gd name="connsiteY93" fmla="*/ 4951109 h 4998171"/>
                <a:gd name="connsiteX94" fmla="*/ 948581 w 4570627"/>
                <a:gd name="connsiteY94" fmla="*/ 4684421 h 4998171"/>
                <a:gd name="connsiteX95" fmla="*/ 807394 w 4570627"/>
                <a:gd name="connsiteY95" fmla="*/ 4590297 h 4998171"/>
                <a:gd name="connsiteX96" fmla="*/ 773692 w 4570627"/>
                <a:gd name="connsiteY96" fmla="*/ 4590297 h 4998171"/>
                <a:gd name="connsiteX97" fmla="*/ 802640 w 4570627"/>
                <a:gd name="connsiteY97" fmla="*/ 4538979 h 4998171"/>
                <a:gd name="connsiteX98" fmla="*/ 894080 w 4570627"/>
                <a:gd name="connsiteY98" fmla="*/ 4439919 h 4998171"/>
                <a:gd name="connsiteX99" fmla="*/ 1122680 w 4570627"/>
                <a:gd name="connsiteY99" fmla="*/ 4470399 h 4998171"/>
                <a:gd name="connsiteX100" fmla="*/ 1168400 w 4570627"/>
                <a:gd name="connsiteY100" fmla="*/ 4401819 h 4998171"/>
                <a:gd name="connsiteX101" fmla="*/ 1122680 w 4570627"/>
                <a:gd name="connsiteY101" fmla="*/ 4272279 h 4998171"/>
                <a:gd name="connsiteX102" fmla="*/ 1160780 w 4570627"/>
                <a:gd name="connsiteY102" fmla="*/ 4218939 h 4998171"/>
                <a:gd name="connsiteX103" fmla="*/ 1130300 w 4570627"/>
                <a:gd name="connsiteY103" fmla="*/ 4127499 h 4998171"/>
                <a:gd name="connsiteX104" fmla="*/ 1160780 w 4570627"/>
                <a:gd name="connsiteY104" fmla="*/ 3807459 h 4998171"/>
                <a:gd name="connsiteX105" fmla="*/ 1038860 w 4570627"/>
                <a:gd name="connsiteY105" fmla="*/ 3395979 h 4998171"/>
                <a:gd name="connsiteX106" fmla="*/ 1130300 w 4570627"/>
                <a:gd name="connsiteY106" fmla="*/ 3235959 h 4998171"/>
                <a:gd name="connsiteX107" fmla="*/ 1183640 w 4570627"/>
                <a:gd name="connsiteY107" fmla="*/ 3274059 h 4998171"/>
                <a:gd name="connsiteX108" fmla="*/ 1336040 w 4570627"/>
                <a:gd name="connsiteY108" fmla="*/ 3174999 h 4998171"/>
                <a:gd name="connsiteX109" fmla="*/ 1351280 w 4570627"/>
                <a:gd name="connsiteY109" fmla="*/ 3045459 h 4998171"/>
                <a:gd name="connsiteX110" fmla="*/ 1290320 w 4570627"/>
                <a:gd name="connsiteY110" fmla="*/ 2969259 h 4998171"/>
                <a:gd name="connsiteX111" fmla="*/ 1290320 w 4570627"/>
                <a:gd name="connsiteY111" fmla="*/ 2923539 h 4998171"/>
                <a:gd name="connsiteX112" fmla="*/ 1366520 w 4570627"/>
                <a:gd name="connsiteY112" fmla="*/ 2923539 h 4998171"/>
                <a:gd name="connsiteX113" fmla="*/ 1389380 w 4570627"/>
                <a:gd name="connsiteY113" fmla="*/ 2969259 h 4998171"/>
                <a:gd name="connsiteX114" fmla="*/ 1518920 w 4570627"/>
                <a:gd name="connsiteY114" fmla="*/ 2938779 h 4998171"/>
                <a:gd name="connsiteX115" fmla="*/ 1503680 w 4570627"/>
                <a:gd name="connsiteY115" fmla="*/ 2847339 h 4998171"/>
                <a:gd name="connsiteX116" fmla="*/ 1450340 w 4570627"/>
                <a:gd name="connsiteY116" fmla="*/ 2786379 h 4998171"/>
                <a:gd name="connsiteX117" fmla="*/ 1488440 w 4570627"/>
                <a:gd name="connsiteY117" fmla="*/ 2573019 h 4998171"/>
                <a:gd name="connsiteX118" fmla="*/ 1389380 w 4570627"/>
                <a:gd name="connsiteY118" fmla="*/ 2420619 h 4998171"/>
                <a:gd name="connsiteX119" fmla="*/ 1297940 w 4570627"/>
                <a:gd name="connsiteY119" fmla="*/ 2405379 h 4998171"/>
                <a:gd name="connsiteX120" fmla="*/ 1244600 w 4570627"/>
                <a:gd name="connsiteY120" fmla="*/ 2306319 h 4998171"/>
                <a:gd name="connsiteX121" fmla="*/ 1282700 w 4570627"/>
                <a:gd name="connsiteY121" fmla="*/ 2252979 h 4998171"/>
                <a:gd name="connsiteX122" fmla="*/ 1183640 w 4570627"/>
                <a:gd name="connsiteY122" fmla="*/ 2146299 h 4998171"/>
                <a:gd name="connsiteX123" fmla="*/ 1168400 w 4570627"/>
                <a:gd name="connsiteY123" fmla="*/ 2047239 h 4998171"/>
                <a:gd name="connsiteX124" fmla="*/ 1183640 w 4570627"/>
                <a:gd name="connsiteY124" fmla="*/ 2016759 h 4998171"/>
                <a:gd name="connsiteX125" fmla="*/ 1153160 w 4570627"/>
                <a:gd name="connsiteY125" fmla="*/ 1887219 h 4998171"/>
                <a:gd name="connsiteX126" fmla="*/ 1176020 w 4570627"/>
                <a:gd name="connsiteY126" fmla="*/ 1871979 h 4998171"/>
                <a:gd name="connsiteX127" fmla="*/ 1145540 w 4570627"/>
                <a:gd name="connsiteY127" fmla="*/ 1658619 h 4998171"/>
                <a:gd name="connsiteX128" fmla="*/ 1099820 w 4570627"/>
                <a:gd name="connsiteY128" fmla="*/ 1620519 h 4998171"/>
                <a:gd name="connsiteX129" fmla="*/ 1076960 w 4570627"/>
                <a:gd name="connsiteY129" fmla="*/ 1643379 h 4998171"/>
                <a:gd name="connsiteX130" fmla="*/ 1069340 w 4570627"/>
                <a:gd name="connsiteY130" fmla="*/ 1711959 h 4998171"/>
                <a:gd name="connsiteX131" fmla="*/ 970280 w 4570627"/>
                <a:gd name="connsiteY131" fmla="*/ 1719579 h 4998171"/>
                <a:gd name="connsiteX132" fmla="*/ 932180 w 4570627"/>
                <a:gd name="connsiteY132" fmla="*/ 1574799 h 4998171"/>
                <a:gd name="connsiteX133" fmla="*/ 871220 w 4570627"/>
                <a:gd name="connsiteY133" fmla="*/ 1620519 h 4998171"/>
                <a:gd name="connsiteX134" fmla="*/ 855980 w 4570627"/>
                <a:gd name="connsiteY134" fmla="*/ 1574799 h 4998171"/>
                <a:gd name="connsiteX135" fmla="*/ 924560 w 4570627"/>
                <a:gd name="connsiteY135" fmla="*/ 1513839 h 4998171"/>
                <a:gd name="connsiteX136" fmla="*/ 855980 w 4570627"/>
                <a:gd name="connsiteY136" fmla="*/ 1384299 h 4998171"/>
                <a:gd name="connsiteX137" fmla="*/ 825500 w 4570627"/>
                <a:gd name="connsiteY137" fmla="*/ 1330959 h 4998171"/>
                <a:gd name="connsiteX138" fmla="*/ 787400 w 4570627"/>
                <a:gd name="connsiteY138" fmla="*/ 1430019 h 4998171"/>
                <a:gd name="connsiteX139" fmla="*/ 772160 w 4570627"/>
                <a:gd name="connsiteY139" fmla="*/ 1369059 h 4998171"/>
                <a:gd name="connsiteX140" fmla="*/ 688340 w 4570627"/>
                <a:gd name="connsiteY140" fmla="*/ 1422399 h 4998171"/>
                <a:gd name="connsiteX141" fmla="*/ 695960 w 4570627"/>
                <a:gd name="connsiteY141" fmla="*/ 1277619 h 4998171"/>
                <a:gd name="connsiteX142" fmla="*/ 497840 w 4570627"/>
                <a:gd name="connsiteY142" fmla="*/ 1262379 h 4998171"/>
                <a:gd name="connsiteX143" fmla="*/ 353060 w 4570627"/>
                <a:gd name="connsiteY143" fmla="*/ 1315719 h 4998171"/>
                <a:gd name="connsiteX144" fmla="*/ 467360 w 4570627"/>
                <a:gd name="connsiteY144" fmla="*/ 1376679 h 4998171"/>
                <a:gd name="connsiteX145" fmla="*/ 474980 w 4570627"/>
                <a:gd name="connsiteY145" fmla="*/ 1452879 h 4998171"/>
                <a:gd name="connsiteX146" fmla="*/ 391160 w 4570627"/>
                <a:gd name="connsiteY146" fmla="*/ 1452879 h 4998171"/>
                <a:gd name="connsiteX147" fmla="*/ 360680 w 4570627"/>
                <a:gd name="connsiteY147" fmla="*/ 1551939 h 4998171"/>
                <a:gd name="connsiteX148" fmla="*/ 132080 w 4570627"/>
                <a:gd name="connsiteY148" fmla="*/ 1567179 h 4998171"/>
                <a:gd name="connsiteX149" fmla="*/ 69850 w 4570627"/>
                <a:gd name="connsiteY149" fmla="*/ 1533990 h 4998171"/>
                <a:gd name="connsiteX150" fmla="*/ 69850 w 4570627"/>
                <a:gd name="connsiteY150" fmla="*/ 1435099 h 4998171"/>
                <a:gd name="connsiteX151" fmla="*/ 146050 w 4570627"/>
                <a:gd name="connsiteY151" fmla="*/ 1295399 h 4998171"/>
                <a:gd name="connsiteX152" fmla="*/ 82550 w 4570627"/>
                <a:gd name="connsiteY152" fmla="*/ 1193799 h 4998171"/>
                <a:gd name="connsiteX153" fmla="*/ 25400 w 4570627"/>
                <a:gd name="connsiteY153" fmla="*/ 1168399 h 4998171"/>
                <a:gd name="connsiteX154" fmla="*/ 31750 w 4570627"/>
                <a:gd name="connsiteY154" fmla="*/ 952499 h 4998171"/>
                <a:gd name="connsiteX155" fmla="*/ 0 w 4570627"/>
                <a:gd name="connsiteY155" fmla="*/ 876299 h 4998171"/>
                <a:gd name="connsiteX156" fmla="*/ 0 w 4570627"/>
                <a:gd name="connsiteY156" fmla="*/ 774699 h 4998171"/>
                <a:gd name="connsiteX157" fmla="*/ 107950 w 4570627"/>
                <a:gd name="connsiteY157" fmla="*/ 755649 h 4998171"/>
                <a:gd name="connsiteX158" fmla="*/ 127000 w 4570627"/>
                <a:gd name="connsiteY158" fmla="*/ 806449 h 4998171"/>
                <a:gd name="connsiteX159" fmla="*/ 215900 w 4570627"/>
                <a:gd name="connsiteY159" fmla="*/ 749299 h 4998171"/>
                <a:gd name="connsiteX160" fmla="*/ 368300 w 4570627"/>
                <a:gd name="connsiteY160" fmla="*/ 749299 h 4998171"/>
                <a:gd name="connsiteX161" fmla="*/ 368300 w 4570627"/>
                <a:gd name="connsiteY161" fmla="*/ 800099 h 4998171"/>
                <a:gd name="connsiteX162" fmla="*/ 495300 w 4570627"/>
                <a:gd name="connsiteY162" fmla="*/ 800099 h 4998171"/>
                <a:gd name="connsiteX163" fmla="*/ 488950 w 4570627"/>
                <a:gd name="connsiteY163" fmla="*/ 711199 h 4998171"/>
                <a:gd name="connsiteX164" fmla="*/ 488950 w 4570627"/>
                <a:gd name="connsiteY164" fmla="*/ 603249 h 4998171"/>
                <a:gd name="connsiteX165" fmla="*/ 596900 w 4570627"/>
                <a:gd name="connsiteY165" fmla="*/ 615949 h 4998171"/>
                <a:gd name="connsiteX166" fmla="*/ 679450 w 4570627"/>
                <a:gd name="connsiteY166" fmla="*/ 514349 h 4998171"/>
                <a:gd name="connsiteX167" fmla="*/ 717550 w 4570627"/>
                <a:gd name="connsiteY167" fmla="*/ 311149 h 4998171"/>
                <a:gd name="connsiteX168" fmla="*/ 812800 w 4570627"/>
                <a:gd name="connsiteY168" fmla="*/ 361949 h 4998171"/>
                <a:gd name="connsiteX169" fmla="*/ 952500 w 4570627"/>
                <a:gd name="connsiteY169" fmla="*/ 266699 h 4998171"/>
                <a:gd name="connsiteX170" fmla="*/ 979517 w 4570627"/>
                <a:gd name="connsiteY170" fmla="*/ 226176 h 4998171"/>
                <a:gd name="connsiteX171" fmla="*/ 977900 w 4570627"/>
                <a:gd name="connsiteY171" fmla="*/ 273049 h 4998171"/>
                <a:gd name="connsiteX172" fmla="*/ 1060450 w 4570627"/>
                <a:gd name="connsiteY172" fmla="*/ 177799 h 4998171"/>
                <a:gd name="connsiteX173" fmla="*/ 869950 w 4570627"/>
                <a:gd name="connsiteY173" fmla="*/ 69850 h 4998171"/>
                <a:gd name="connsiteX174" fmla="*/ 812801 w 4570627"/>
                <a:gd name="connsiteY174" fmla="*/ 12700 h 4998171"/>
                <a:gd name="connsiteX175" fmla="*/ 869950 w 4570627"/>
                <a:gd name="connsiteY175" fmla="*/ 69849 h 4998171"/>
                <a:gd name="connsiteX176" fmla="*/ 920750 w 4570627"/>
                <a:gd name="connsiteY176" fmla="*/ 57149 h 4998171"/>
                <a:gd name="connsiteX177" fmla="*/ 920750 w 4570627"/>
                <a:gd name="connsiteY177" fmla="*/ 57150 h 4998171"/>
                <a:gd name="connsiteX178" fmla="*/ 869950 w 4570627"/>
                <a:gd name="connsiteY178" fmla="*/ 69850 h 4998171"/>
                <a:gd name="connsiteX179" fmla="*/ 908051 w 4570627"/>
                <a:gd name="connsiteY179" fmla="*/ 6350 h 4998171"/>
                <a:gd name="connsiteX180" fmla="*/ 1022350 w 4570627"/>
                <a:gd name="connsiteY180" fmla="*/ 50799 h 4998171"/>
                <a:gd name="connsiteX181" fmla="*/ 1022350 w 4570627"/>
                <a:gd name="connsiteY181" fmla="*/ 50800 h 4998171"/>
                <a:gd name="connsiteX182" fmla="*/ 984250 w 4570627"/>
                <a:gd name="connsiteY182" fmla="*/ 0 h 4998171"/>
                <a:gd name="connsiteX183" fmla="*/ 908051 w 4570627"/>
                <a:gd name="connsiteY183" fmla="*/ 6350 h 4998171"/>
                <a:gd name="connsiteX0" fmla="*/ 555179 w 4570627"/>
                <a:gd name="connsiteY0" fmla="*/ 4669234 h 4998171"/>
                <a:gd name="connsiteX1" fmla="*/ 555179 w 4570627"/>
                <a:gd name="connsiteY1" fmla="*/ 4669234 h 4998171"/>
                <a:gd name="connsiteX2" fmla="*/ 546724 w 4570627"/>
                <a:gd name="connsiteY2" fmla="*/ 4693834 h 4998171"/>
                <a:gd name="connsiteX3" fmla="*/ 546723 w 4570627"/>
                <a:gd name="connsiteY3" fmla="*/ 4693834 h 4998171"/>
                <a:gd name="connsiteX4" fmla="*/ 555179 w 4570627"/>
                <a:gd name="connsiteY4" fmla="*/ 4669234 h 4998171"/>
                <a:gd name="connsiteX5" fmla="*/ 1060450 w 4570627"/>
                <a:gd name="connsiteY5" fmla="*/ 177799 h 4998171"/>
                <a:gd name="connsiteX6" fmla="*/ 1149350 w 4570627"/>
                <a:gd name="connsiteY6" fmla="*/ 215899 h 4998171"/>
                <a:gd name="connsiteX7" fmla="*/ 1263650 w 4570627"/>
                <a:gd name="connsiteY7" fmla="*/ 292099 h 4998171"/>
                <a:gd name="connsiteX8" fmla="*/ 1320800 w 4570627"/>
                <a:gd name="connsiteY8" fmla="*/ 412749 h 4998171"/>
                <a:gd name="connsiteX9" fmla="*/ 1371600 w 4570627"/>
                <a:gd name="connsiteY9" fmla="*/ 393699 h 4998171"/>
                <a:gd name="connsiteX10" fmla="*/ 1479550 w 4570627"/>
                <a:gd name="connsiteY10" fmla="*/ 501649 h 4998171"/>
                <a:gd name="connsiteX11" fmla="*/ 1530350 w 4570627"/>
                <a:gd name="connsiteY11" fmla="*/ 666749 h 4998171"/>
                <a:gd name="connsiteX12" fmla="*/ 1612900 w 4570627"/>
                <a:gd name="connsiteY12" fmla="*/ 711199 h 4998171"/>
                <a:gd name="connsiteX13" fmla="*/ 1638300 w 4570627"/>
                <a:gd name="connsiteY13" fmla="*/ 641349 h 4998171"/>
                <a:gd name="connsiteX14" fmla="*/ 1739900 w 4570627"/>
                <a:gd name="connsiteY14" fmla="*/ 647699 h 4998171"/>
                <a:gd name="connsiteX15" fmla="*/ 1746250 w 4570627"/>
                <a:gd name="connsiteY15" fmla="*/ 596899 h 4998171"/>
                <a:gd name="connsiteX16" fmla="*/ 1689100 w 4570627"/>
                <a:gd name="connsiteY16" fmla="*/ 565149 h 4998171"/>
                <a:gd name="connsiteX17" fmla="*/ 1638300 w 4570627"/>
                <a:gd name="connsiteY17" fmla="*/ 520699 h 4998171"/>
                <a:gd name="connsiteX18" fmla="*/ 1625600 w 4570627"/>
                <a:gd name="connsiteY18" fmla="*/ 469899 h 4998171"/>
                <a:gd name="connsiteX19" fmla="*/ 1778000 w 4570627"/>
                <a:gd name="connsiteY19" fmla="*/ 412749 h 4998171"/>
                <a:gd name="connsiteX20" fmla="*/ 1879600 w 4570627"/>
                <a:gd name="connsiteY20" fmla="*/ 425449 h 4998171"/>
                <a:gd name="connsiteX21" fmla="*/ 1873250 w 4570627"/>
                <a:gd name="connsiteY21" fmla="*/ 488949 h 4998171"/>
                <a:gd name="connsiteX22" fmla="*/ 1981200 w 4570627"/>
                <a:gd name="connsiteY22" fmla="*/ 482599 h 4998171"/>
                <a:gd name="connsiteX23" fmla="*/ 2006600 w 4570627"/>
                <a:gd name="connsiteY23" fmla="*/ 482599 h 4998171"/>
                <a:gd name="connsiteX24" fmla="*/ 2032000 w 4570627"/>
                <a:gd name="connsiteY24" fmla="*/ 584199 h 4998171"/>
                <a:gd name="connsiteX25" fmla="*/ 2133600 w 4570627"/>
                <a:gd name="connsiteY25" fmla="*/ 596899 h 4998171"/>
                <a:gd name="connsiteX26" fmla="*/ 2171700 w 4570627"/>
                <a:gd name="connsiteY26" fmla="*/ 463549 h 4998171"/>
                <a:gd name="connsiteX27" fmla="*/ 2146300 w 4570627"/>
                <a:gd name="connsiteY27" fmla="*/ 323849 h 4998171"/>
                <a:gd name="connsiteX28" fmla="*/ 2216150 w 4570627"/>
                <a:gd name="connsiteY28" fmla="*/ 241299 h 4998171"/>
                <a:gd name="connsiteX29" fmla="*/ 2279650 w 4570627"/>
                <a:gd name="connsiteY29" fmla="*/ 234949 h 4998171"/>
                <a:gd name="connsiteX30" fmla="*/ 2305050 w 4570627"/>
                <a:gd name="connsiteY30" fmla="*/ 330199 h 4998171"/>
                <a:gd name="connsiteX31" fmla="*/ 2374900 w 4570627"/>
                <a:gd name="connsiteY31" fmla="*/ 393699 h 4998171"/>
                <a:gd name="connsiteX32" fmla="*/ 2381250 w 4570627"/>
                <a:gd name="connsiteY32" fmla="*/ 457199 h 4998171"/>
                <a:gd name="connsiteX33" fmla="*/ 2514600 w 4570627"/>
                <a:gd name="connsiteY33" fmla="*/ 406399 h 4998171"/>
                <a:gd name="connsiteX34" fmla="*/ 2641600 w 4570627"/>
                <a:gd name="connsiteY34" fmla="*/ 380999 h 4998171"/>
                <a:gd name="connsiteX35" fmla="*/ 2686050 w 4570627"/>
                <a:gd name="connsiteY35" fmla="*/ 419099 h 4998171"/>
                <a:gd name="connsiteX36" fmla="*/ 2774950 w 4570627"/>
                <a:gd name="connsiteY36" fmla="*/ 368299 h 4998171"/>
                <a:gd name="connsiteX37" fmla="*/ 2796953 w 4570627"/>
                <a:gd name="connsiteY37" fmla="*/ 370395 h 4998171"/>
                <a:gd name="connsiteX38" fmla="*/ 2787650 w 4570627"/>
                <a:gd name="connsiteY38" fmla="*/ 349251 h 4998171"/>
                <a:gd name="connsiteX39" fmla="*/ 2857500 w 4570627"/>
                <a:gd name="connsiteY39" fmla="*/ 508000 h 4998171"/>
                <a:gd name="connsiteX40" fmla="*/ 2971800 w 4570627"/>
                <a:gd name="connsiteY40" fmla="*/ 533400 h 4998171"/>
                <a:gd name="connsiteX41" fmla="*/ 3054350 w 4570627"/>
                <a:gd name="connsiteY41" fmla="*/ 552450 h 4998171"/>
                <a:gd name="connsiteX42" fmla="*/ 3093057 w 4570627"/>
                <a:gd name="connsiteY42" fmla="*/ 707280 h 4998171"/>
                <a:gd name="connsiteX43" fmla="*/ 3011086 w 4570627"/>
                <a:gd name="connsiteY43" fmla="*/ 588422 h 4998171"/>
                <a:gd name="connsiteX44" fmla="*/ 2924805 w 4570627"/>
                <a:gd name="connsiteY44" fmla="*/ 674703 h 4998171"/>
                <a:gd name="connsiteX45" fmla="*/ 3026774 w 4570627"/>
                <a:gd name="connsiteY45" fmla="*/ 784515 h 4998171"/>
                <a:gd name="connsiteX46" fmla="*/ 3050305 w 4570627"/>
                <a:gd name="connsiteY46" fmla="*/ 957077 h 4998171"/>
                <a:gd name="connsiteX47" fmla="*/ 3348367 w 4570627"/>
                <a:gd name="connsiteY47" fmla="*/ 1129640 h 4998171"/>
                <a:gd name="connsiteX48" fmla="*/ 3411117 w 4570627"/>
                <a:gd name="connsiteY48" fmla="*/ 1239452 h 4998171"/>
                <a:gd name="connsiteX49" fmla="*/ 3262086 w 4570627"/>
                <a:gd name="connsiteY49" fmla="*/ 1419858 h 4998171"/>
                <a:gd name="connsiteX50" fmla="*/ 3395429 w 4570627"/>
                <a:gd name="connsiteY50" fmla="*/ 1663014 h 4998171"/>
                <a:gd name="connsiteX51" fmla="*/ 3489554 w 4570627"/>
                <a:gd name="connsiteY51" fmla="*/ 1945388 h 4998171"/>
                <a:gd name="connsiteX52" fmla="*/ 3638585 w 4570627"/>
                <a:gd name="connsiteY52" fmla="*/ 2110107 h 4998171"/>
                <a:gd name="connsiteX53" fmla="*/ 3756241 w 4570627"/>
                <a:gd name="connsiteY53" fmla="*/ 2015982 h 4998171"/>
                <a:gd name="connsiteX54" fmla="*/ 3905271 w 4570627"/>
                <a:gd name="connsiteY54" fmla="*/ 2259138 h 4998171"/>
                <a:gd name="connsiteX55" fmla="*/ 4007240 w 4570627"/>
                <a:gd name="connsiteY55" fmla="*/ 2376794 h 4998171"/>
                <a:gd name="connsiteX56" fmla="*/ 4124896 w 4570627"/>
                <a:gd name="connsiteY56" fmla="*/ 2376794 h 4998171"/>
                <a:gd name="connsiteX57" fmla="*/ 4328833 w 4570627"/>
                <a:gd name="connsiteY57" fmla="*/ 2659168 h 4998171"/>
                <a:gd name="connsiteX58" fmla="*/ 4446489 w 4570627"/>
                <a:gd name="connsiteY58" fmla="*/ 2643481 h 4998171"/>
                <a:gd name="connsiteX59" fmla="*/ 4564145 w 4570627"/>
                <a:gd name="connsiteY59" fmla="*/ 2768981 h 4998171"/>
                <a:gd name="connsiteX60" fmla="*/ 4570627 w 4570627"/>
                <a:gd name="connsiteY60" fmla="*/ 2778981 h 4998171"/>
                <a:gd name="connsiteX61" fmla="*/ 4493946 w 4570627"/>
                <a:gd name="connsiteY61" fmla="*/ 3147049 h 4998171"/>
                <a:gd name="connsiteX62" fmla="*/ 4274322 w 4570627"/>
                <a:gd name="connsiteY62" fmla="*/ 3162736 h 4998171"/>
                <a:gd name="connsiteX63" fmla="*/ 4180197 w 4570627"/>
                <a:gd name="connsiteY63" fmla="*/ 3492173 h 4998171"/>
                <a:gd name="connsiteX64" fmla="*/ 3819386 w 4570627"/>
                <a:gd name="connsiteY64" fmla="*/ 3617673 h 4998171"/>
                <a:gd name="connsiteX65" fmla="*/ 3552699 w 4570627"/>
                <a:gd name="connsiteY65" fmla="*/ 3774548 h 4998171"/>
                <a:gd name="connsiteX66" fmla="*/ 3552699 w 4570627"/>
                <a:gd name="connsiteY66" fmla="*/ 3884360 h 4998171"/>
                <a:gd name="connsiteX67" fmla="*/ 3788011 w 4570627"/>
                <a:gd name="connsiteY67" fmla="*/ 4088297 h 4998171"/>
                <a:gd name="connsiteX68" fmla="*/ 3772323 w 4570627"/>
                <a:gd name="connsiteY68" fmla="*/ 4307922 h 4998171"/>
                <a:gd name="connsiteX69" fmla="*/ 3866448 w 4570627"/>
                <a:gd name="connsiteY69" fmla="*/ 4417734 h 4998171"/>
                <a:gd name="connsiteX70" fmla="*/ 3897823 w 4570627"/>
                <a:gd name="connsiteY70" fmla="*/ 4653047 h 4998171"/>
                <a:gd name="connsiteX71" fmla="*/ 3819386 w 4570627"/>
                <a:gd name="connsiteY71" fmla="*/ 4762859 h 4998171"/>
                <a:gd name="connsiteX72" fmla="*/ 3662511 w 4570627"/>
                <a:gd name="connsiteY72" fmla="*/ 4684421 h 4998171"/>
                <a:gd name="connsiteX73" fmla="*/ 3615449 w 4570627"/>
                <a:gd name="connsiteY73" fmla="*/ 4605984 h 4998171"/>
                <a:gd name="connsiteX74" fmla="*/ 3615449 w 4570627"/>
                <a:gd name="connsiteY74" fmla="*/ 4464797 h 4998171"/>
                <a:gd name="connsiteX75" fmla="*/ 3458574 w 4570627"/>
                <a:gd name="connsiteY75" fmla="*/ 4402047 h 4998171"/>
                <a:gd name="connsiteX76" fmla="*/ 3395824 w 4570627"/>
                <a:gd name="connsiteY76" fmla="*/ 4527547 h 4998171"/>
                <a:gd name="connsiteX77" fmla="*/ 3160513 w 4570627"/>
                <a:gd name="connsiteY77" fmla="*/ 4449109 h 4998171"/>
                <a:gd name="connsiteX78" fmla="*/ 3144825 w 4570627"/>
                <a:gd name="connsiteY78" fmla="*/ 4386359 h 4998171"/>
                <a:gd name="connsiteX79" fmla="*/ 2940888 w 4570627"/>
                <a:gd name="connsiteY79" fmla="*/ 4464797 h 4998171"/>
                <a:gd name="connsiteX80" fmla="*/ 2831076 w 4570627"/>
                <a:gd name="connsiteY80" fmla="*/ 4574609 h 4998171"/>
                <a:gd name="connsiteX81" fmla="*/ 2564389 w 4570627"/>
                <a:gd name="connsiteY81" fmla="*/ 4605984 h 4998171"/>
                <a:gd name="connsiteX82" fmla="*/ 2329077 w 4570627"/>
                <a:gd name="connsiteY82" fmla="*/ 4621672 h 4998171"/>
                <a:gd name="connsiteX83" fmla="*/ 2125140 w 4570627"/>
                <a:gd name="connsiteY83" fmla="*/ 4809921 h 4998171"/>
                <a:gd name="connsiteX84" fmla="*/ 1936891 w 4570627"/>
                <a:gd name="connsiteY84" fmla="*/ 4856984 h 4998171"/>
                <a:gd name="connsiteX85" fmla="*/ 1717266 w 4570627"/>
                <a:gd name="connsiteY85" fmla="*/ 4747171 h 4998171"/>
                <a:gd name="connsiteX86" fmla="*/ 1701579 w 4570627"/>
                <a:gd name="connsiteY86" fmla="*/ 4621672 h 4998171"/>
                <a:gd name="connsiteX87" fmla="*/ 1576079 w 4570627"/>
                <a:gd name="connsiteY87" fmla="*/ 4574609 h 4998171"/>
                <a:gd name="connsiteX88" fmla="*/ 1419205 w 4570627"/>
                <a:gd name="connsiteY88" fmla="*/ 4574609 h 4998171"/>
                <a:gd name="connsiteX89" fmla="*/ 1340768 w 4570627"/>
                <a:gd name="connsiteY89" fmla="*/ 4668734 h 4998171"/>
                <a:gd name="connsiteX90" fmla="*/ 1309393 w 4570627"/>
                <a:gd name="connsiteY90" fmla="*/ 4825609 h 4998171"/>
                <a:gd name="connsiteX91" fmla="*/ 1246643 w 4570627"/>
                <a:gd name="connsiteY91" fmla="*/ 4919734 h 4998171"/>
                <a:gd name="connsiteX92" fmla="*/ 1152518 w 4570627"/>
                <a:gd name="connsiteY92" fmla="*/ 4998171 h 4998171"/>
                <a:gd name="connsiteX93" fmla="*/ 964268 w 4570627"/>
                <a:gd name="connsiteY93" fmla="*/ 4951109 h 4998171"/>
                <a:gd name="connsiteX94" fmla="*/ 948581 w 4570627"/>
                <a:gd name="connsiteY94" fmla="*/ 4684421 h 4998171"/>
                <a:gd name="connsiteX95" fmla="*/ 807394 w 4570627"/>
                <a:gd name="connsiteY95" fmla="*/ 4590297 h 4998171"/>
                <a:gd name="connsiteX96" fmla="*/ 773692 w 4570627"/>
                <a:gd name="connsiteY96" fmla="*/ 4590297 h 4998171"/>
                <a:gd name="connsiteX97" fmla="*/ 802640 w 4570627"/>
                <a:gd name="connsiteY97" fmla="*/ 4538979 h 4998171"/>
                <a:gd name="connsiteX98" fmla="*/ 894080 w 4570627"/>
                <a:gd name="connsiteY98" fmla="*/ 4439919 h 4998171"/>
                <a:gd name="connsiteX99" fmla="*/ 1122680 w 4570627"/>
                <a:gd name="connsiteY99" fmla="*/ 4470399 h 4998171"/>
                <a:gd name="connsiteX100" fmla="*/ 1168400 w 4570627"/>
                <a:gd name="connsiteY100" fmla="*/ 4401819 h 4998171"/>
                <a:gd name="connsiteX101" fmla="*/ 1122680 w 4570627"/>
                <a:gd name="connsiteY101" fmla="*/ 4272279 h 4998171"/>
                <a:gd name="connsiteX102" fmla="*/ 1160780 w 4570627"/>
                <a:gd name="connsiteY102" fmla="*/ 4218939 h 4998171"/>
                <a:gd name="connsiteX103" fmla="*/ 1130300 w 4570627"/>
                <a:gd name="connsiteY103" fmla="*/ 4127499 h 4998171"/>
                <a:gd name="connsiteX104" fmla="*/ 1160780 w 4570627"/>
                <a:gd name="connsiteY104" fmla="*/ 3807459 h 4998171"/>
                <a:gd name="connsiteX105" fmla="*/ 1038860 w 4570627"/>
                <a:gd name="connsiteY105" fmla="*/ 3395979 h 4998171"/>
                <a:gd name="connsiteX106" fmla="*/ 1130300 w 4570627"/>
                <a:gd name="connsiteY106" fmla="*/ 3235959 h 4998171"/>
                <a:gd name="connsiteX107" fmla="*/ 1183640 w 4570627"/>
                <a:gd name="connsiteY107" fmla="*/ 3274059 h 4998171"/>
                <a:gd name="connsiteX108" fmla="*/ 1336040 w 4570627"/>
                <a:gd name="connsiteY108" fmla="*/ 3174999 h 4998171"/>
                <a:gd name="connsiteX109" fmla="*/ 1351280 w 4570627"/>
                <a:gd name="connsiteY109" fmla="*/ 3045459 h 4998171"/>
                <a:gd name="connsiteX110" fmla="*/ 1290320 w 4570627"/>
                <a:gd name="connsiteY110" fmla="*/ 2969259 h 4998171"/>
                <a:gd name="connsiteX111" fmla="*/ 1290320 w 4570627"/>
                <a:gd name="connsiteY111" fmla="*/ 2923539 h 4998171"/>
                <a:gd name="connsiteX112" fmla="*/ 1366520 w 4570627"/>
                <a:gd name="connsiteY112" fmla="*/ 2923539 h 4998171"/>
                <a:gd name="connsiteX113" fmla="*/ 1389380 w 4570627"/>
                <a:gd name="connsiteY113" fmla="*/ 2969259 h 4998171"/>
                <a:gd name="connsiteX114" fmla="*/ 1518920 w 4570627"/>
                <a:gd name="connsiteY114" fmla="*/ 2938779 h 4998171"/>
                <a:gd name="connsiteX115" fmla="*/ 1503680 w 4570627"/>
                <a:gd name="connsiteY115" fmla="*/ 2847339 h 4998171"/>
                <a:gd name="connsiteX116" fmla="*/ 1450340 w 4570627"/>
                <a:gd name="connsiteY116" fmla="*/ 2786379 h 4998171"/>
                <a:gd name="connsiteX117" fmla="*/ 1488440 w 4570627"/>
                <a:gd name="connsiteY117" fmla="*/ 2573019 h 4998171"/>
                <a:gd name="connsiteX118" fmla="*/ 1389380 w 4570627"/>
                <a:gd name="connsiteY118" fmla="*/ 2420619 h 4998171"/>
                <a:gd name="connsiteX119" fmla="*/ 1297940 w 4570627"/>
                <a:gd name="connsiteY119" fmla="*/ 2405379 h 4998171"/>
                <a:gd name="connsiteX120" fmla="*/ 1244600 w 4570627"/>
                <a:gd name="connsiteY120" fmla="*/ 2306319 h 4998171"/>
                <a:gd name="connsiteX121" fmla="*/ 1282700 w 4570627"/>
                <a:gd name="connsiteY121" fmla="*/ 2252979 h 4998171"/>
                <a:gd name="connsiteX122" fmla="*/ 1183640 w 4570627"/>
                <a:gd name="connsiteY122" fmla="*/ 2146299 h 4998171"/>
                <a:gd name="connsiteX123" fmla="*/ 1168400 w 4570627"/>
                <a:gd name="connsiteY123" fmla="*/ 2047239 h 4998171"/>
                <a:gd name="connsiteX124" fmla="*/ 1183640 w 4570627"/>
                <a:gd name="connsiteY124" fmla="*/ 2016759 h 4998171"/>
                <a:gd name="connsiteX125" fmla="*/ 1153160 w 4570627"/>
                <a:gd name="connsiteY125" fmla="*/ 1887219 h 4998171"/>
                <a:gd name="connsiteX126" fmla="*/ 1176020 w 4570627"/>
                <a:gd name="connsiteY126" fmla="*/ 1871979 h 4998171"/>
                <a:gd name="connsiteX127" fmla="*/ 1145540 w 4570627"/>
                <a:gd name="connsiteY127" fmla="*/ 1658619 h 4998171"/>
                <a:gd name="connsiteX128" fmla="*/ 1099820 w 4570627"/>
                <a:gd name="connsiteY128" fmla="*/ 1620519 h 4998171"/>
                <a:gd name="connsiteX129" fmla="*/ 1076960 w 4570627"/>
                <a:gd name="connsiteY129" fmla="*/ 1643379 h 4998171"/>
                <a:gd name="connsiteX130" fmla="*/ 1069340 w 4570627"/>
                <a:gd name="connsiteY130" fmla="*/ 1711959 h 4998171"/>
                <a:gd name="connsiteX131" fmla="*/ 970280 w 4570627"/>
                <a:gd name="connsiteY131" fmla="*/ 1719579 h 4998171"/>
                <a:gd name="connsiteX132" fmla="*/ 932180 w 4570627"/>
                <a:gd name="connsiteY132" fmla="*/ 1574799 h 4998171"/>
                <a:gd name="connsiteX133" fmla="*/ 871220 w 4570627"/>
                <a:gd name="connsiteY133" fmla="*/ 1620519 h 4998171"/>
                <a:gd name="connsiteX134" fmla="*/ 855980 w 4570627"/>
                <a:gd name="connsiteY134" fmla="*/ 1574799 h 4998171"/>
                <a:gd name="connsiteX135" fmla="*/ 924560 w 4570627"/>
                <a:gd name="connsiteY135" fmla="*/ 1513839 h 4998171"/>
                <a:gd name="connsiteX136" fmla="*/ 855980 w 4570627"/>
                <a:gd name="connsiteY136" fmla="*/ 1384299 h 4998171"/>
                <a:gd name="connsiteX137" fmla="*/ 825500 w 4570627"/>
                <a:gd name="connsiteY137" fmla="*/ 1330959 h 4998171"/>
                <a:gd name="connsiteX138" fmla="*/ 787400 w 4570627"/>
                <a:gd name="connsiteY138" fmla="*/ 1430019 h 4998171"/>
                <a:gd name="connsiteX139" fmla="*/ 772160 w 4570627"/>
                <a:gd name="connsiteY139" fmla="*/ 1369059 h 4998171"/>
                <a:gd name="connsiteX140" fmla="*/ 688340 w 4570627"/>
                <a:gd name="connsiteY140" fmla="*/ 1422399 h 4998171"/>
                <a:gd name="connsiteX141" fmla="*/ 695960 w 4570627"/>
                <a:gd name="connsiteY141" fmla="*/ 1277619 h 4998171"/>
                <a:gd name="connsiteX142" fmla="*/ 497840 w 4570627"/>
                <a:gd name="connsiteY142" fmla="*/ 1262379 h 4998171"/>
                <a:gd name="connsiteX143" fmla="*/ 353060 w 4570627"/>
                <a:gd name="connsiteY143" fmla="*/ 1315719 h 4998171"/>
                <a:gd name="connsiteX144" fmla="*/ 467360 w 4570627"/>
                <a:gd name="connsiteY144" fmla="*/ 1376679 h 4998171"/>
                <a:gd name="connsiteX145" fmla="*/ 474980 w 4570627"/>
                <a:gd name="connsiteY145" fmla="*/ 1452879 h 4998171"/>
                <a:gd name="connsiteX146" fmla="*/ 391160 w 4570627"/>
                <a:gd name="connsiteY146" fmla="*/ 1452879 h 4998171"/>
                <a:gd name="connsiteX147" fmla="*/ 360680 w 4570627"/>
                <a:gd name="connsiteY147" fmla="*/ 1551939 h 4998171"/>
                <a:gd name="connsiteX148" fmla="*/ 132080 w 4570627"/>
                <a:gd name="connsiteY148" fmla="*/ 1567179 h 4998171"/>
                <a:gd name="connsiteX149" fmla="*/ 69850 w 4570627"/>
                <a:gd name="connsiteY149" fmla="*/ 1533990 h 4998171"/>
                <a:gd name="connsiteX150" fmla="*/ 69850 w 4570627"/>
                <a:gd name="connsiteY150" fmla="*/ 1435099 h 4998171"/>
                <a:gd name="connsiteX151" fmla="*/ 146050 w 4570627"/>
                <a:gd name="connsiteY151" fmla="*/ 1295399 h 4998171"/>
                <a:gd name="connsiteX152" fmla="*/ 82550 w 4570627"/>
                <a:gd name="connsiteY152" fmla="*/ 1193799 h 4998171"/>
                <a:gd name="connsiteX153" fmla="*/ 25400 w 4570627"/>
                <a:gd name="connsiteY153" fmla="*/ 1168399 h 4998171"/>
                <a:gd name="connsiteX154" fmla="*/ 31750 w 4570627"/>
                <a:gd name="connsiteY154" fmla="*/ 952499 h 4998171"/>
                <a:gd name="connsiteX155" fmla="*/ 0 w 4570627"/>
                <a:gd name="connsiteY155" fmla="*/ 876299 h 4998171"/>
                <a:gd name="connsiteX156" fmla="*/ 0 w 4570627"/>
                <a:gd name="connsiteY156" fmla="*/ 774699 h 4998171"/>
                <a:gd name="connsiteX157" fmla="*/ 107950 w 4570627"/>
                <a:gd name="connsiteY157" fmla="*/ 755649 h 4998171"/>
                <a:gd name="connsiteX158" fmla="*/ 127000 w 4570627"/>
                <a:gd name="connsiteY158" fmla="*/ 806449 h 4998171"/>
                <a:gd name="connsiteX159" fmla="*/ 215900 w 4570627"/>
                <a:gd name="connsiteY159" fmla="*/ 749299 h 4998171"/>
                <a:gd name="connsiteX160" fmla="*/ 368300 w 4570627"/>
                <a:gd name="connsiteY160" fmla="*/ 749299 h 4998171"/>
                <a:gd name="connsiteX161" fmla="*/ 368300 w 4570627"/>
                <a:gd name="connsiteY161" fmla="*/ 800099 h 4998171"/>
                <a:gd name="connsiteX162" fmla="*/ 495300 w 4570627"/>
                <a:gd name="connsiteY162" fmla="*/ 800099 h 4998171"/>
                <a:gd name="connsiteX163" fmla="*/ 488950 w 4570627"/>
                <a:gd name="connsiteY163" fmla="*/ 711199 h 4998171"/>
                <a:gd name="connsiteX164" fmla="*/ 488950 w 4570627"/>
                <a:gd name="connsiteY164" fmla="*/ 603249 h 4998171"/>
                <a:gd name="connsiteX165" fmla="*/ 596900 w 4570627"/>
                <a:gd name="connsiteY165" fmla="*/ 615949 h 4998171"/>
                <a:gd name="connsiteX166" fmla="*/ 679450 w 4570627"/>
                <a:gd name="connsiteY166" fmla="*/ 514349 h 4998171"/>
                <a:gd name="connsiteX167" fmla="*/ 717550 w 4570627"/>
                <a:gd name="connsiteY167" fmla="*/ 311149 h 4998171"/>
                <a:gd name="connsiteX168" fmla="*/ 812800 w 4570627"/>
                <a:gd name="connsiteY168" fmla="*/ 361949 h 4998171"/>
                <a:gd name="connsiteX169" fmla="*/ 952500 w 4570627"/>
                <a:gd name="connsiteY169" fmla="*/ 266699 h 4998171"/>
                <a:gd name="connsiteX170" fmla="*/ 979517 w 4570627"/>
                <a:gd name="connsiteY170" fmla="*/ 226176 h 4998171"/>
                <a:gd name="connsiteX171" fmla="*/ 977900 w 4570627"/>
                <a:gd name="connsiteY171" fmla="*/ 273049 h 4998171"/>
                <a:gd name="connsiteX172" fmla="*/ 1060450 w 4570627"/>
                <a:gd name="connsiteY172" fmla="*/ 177799 h 4998171"/>
                <a:gd name="connsiteX173" fmla="*/ 869950 w 4570627"/>
                <a:gd name="connsiteY173" fmla="*/ 69850 h 4998171"/>
                <a:gd name="connsiteX174" fmla="*/ 812801 w 4570627"/>
                <a:gd name="connsiteY174" fmla="*/ 12700 h 4998171"/>
                <a:gd name="connsiteX175" fmla="*/ 869950 w 4570627"/>
                <a:gd name="connsiteY175" fmla="*/ 69849 h 4998171"/>
                <a:gd name="connsiteX176" fmla="*/ 920750 w 4570627"/>
                <a:gd name="connsiteY176" fmla="*/ 57149 h 4998171"/>
                <a:gd name="connsiteX177" fmla="*/ 920750 w 4570627"/>
                <a:gd name="connsiteY177" fmla="*/ 57150 h 4998171"/>
                <a:gd name="connsiteX178" fmla="*/ 869950 w 4570627"/>
                <a:gd name="connsiteY178" fmla="*/ 69850 h 4998171"/>
                <a:gd name="connsiteX179" fmla="*/ 984250 w 4570627"/>
                <a:gd name="connsiteY179" fmla="*/ 0 h 4998171"/>
                <a:gd name="connsiteX180" fmla="*/ 1022350 w 4570627"/>
                <a:gd name="connsiteY180" fmla="*/ 50799 h 4998171"/>
                <a:gd name="connsiteX181" fmla="*/ 1022350 w 4570627"/>
                <a:gd name="connsiteY181" fmla="*/ 50800 h 4998171"/>
                <a:gd name="connsiteX182" fmla="*/ 984250 w 4570627"/>
                <a:gd name="connsiteY182" fmla="*/ 0 h 4998171"/>
                <a:gd name="connsiteX0" fmla="*/ 555179 w 4570627"/>
                <a:gd name="connsiteY0" fmla="*/ 4669234 h 4998171"/>
                <a:gd name="connsiteX1" fmla="*/ 555179 w 4570627"/>
                <a:gd name="connsiteY1" fmla="*/ 4669234 h 4998171"/>
                <a:gd name="connsiteX2" fmla="*/ 546724 w 4570627"/>
                <a:gd name="connsiteY2" fmla="*/ 4693834 h 4998171"/>
                <a:gd name="connsiteX3" fmla="*/ 546723 w 4570627"/>
                <a:gd name="connsiteY3" fmla="*/ 4693834 h 4998171"/>
                <a:gd name="connsiteX4" fmla="*/ 555179 w 4570627"/>
                <a:gd name="connsiteY4" fmla="*/ 4669234 h 4998171"/>
                <a:gd name="connsiteX5" fmla="*/ 1060450 w 4570627"/>
                <a:gd name="connsiteY5" fmla="*/ 177799 h 4998171"/>
                <a:gd name="connsiteX6" fmla="*/ 1149350 w 4570627"/>
                <a:gd name="connsiteY6" fmla="*/ 215899 h 4998171"/>
                <a:gd name="connsiteX7" fmla="*/ 1263650 w 4570627"/>
                <a:gd name="connsiteY7" fmla="*/ 292099 h 4998171"/>
                <a:gd name="connsiteX8" fmla="*/ 1320800 w 4570627"/>
                <a:gd name="connsiteY8" fmla="*/ 412749 h 4998171"/>
                <a:gd name="connsiteX9" fmla="*/ 1371600 w 4570627"/>
                <a:gd name="connsiteY9" fmla="*/ 393699 h 4998171"/>
                <a:gd name="connsiteX10" fmla="*/ 1479550 w 4570627"/>
                <a:gd name="connsiteY10" fmla="*/ 501649 h 4998171"/>
                <a:gd name="connsiteX11" fmla="*/ 1530350 w 4570627"/>
                <a:gd name="connsiteY11" fmla="*/ 666749 h 4998171"/>
                <a:gd name="connsiteX12" fmla="*/ 1612900 w 4570627"/>
                <a:gd name="connsiteY12" fmla="*/ 711199 h 4998171"/>
                <a:gd name="connsiteX13" fmla="*/ 1638300 w 4570627"/>
                <a:gd name="connsiteY13" fmla="*/ 641349 h 4998171"/>
                <a:gd name="connsiteX14" fmla="*/ 1739900 w 4570627"/>
                <a:gd name="connsiteY14" fmla="*/ 647699 h 4998171"/>
                <a:gd name="connsiteX15" fmla="*/ 1746250 w 4570627"/>
                <a:gd name="connsiteY15" fmla="*/ 596899 h 4998171"/>
                <a:gd name="connsiteX16" fmla="*/ 1689100 w 4570627"/>
                <a:gd name="connsiteY16" fmla="*/ 565149 h 4998171"/>
                <a:gd name="connsiteX17" fmla="*/ 1638300 w 4570627"/>
                <a:gd name="connsiteY17" fmla="*/ 520699 h 4998171"/>
                <a:gd name="connsiteX18" fmla="*/ 1625600 w 4570627"/>
                <a:gd name="connsiteY18" fmla="*/ 469899 h 4998171"/>
                <a:gd name="connsiteX19" fmla="*/ 1778000 w 4570627"/>
                <a:gd name="connsiteY19" fmla="*/ 412749 h 4998171"/>
                <a:gd name="connsiteX20" fmla="*/ 1879600 w 4570627"/>
                <a:gd name="connsiteY20" fmla="*/ 425449 h 4998171"/>
                <a:gd name="connsiteX21" fmla="*/ 1873250 w 4570627"/>
                <a:gd name="connsiteY21" fmla="*/ 488949 h 4998171"/>
                <a:gd name="connsiteX22" fmla="*/ 1981200 w 4570627"/>
                <a:gd name="connsiteY22" fmla="*/ 482599 h 4998171"/>
                <a:gd name="connsiteX23" fmla="*/ 2006600 w 4570627"/>
                <a:gd name="connsiteY23" fmla="*/ 482599 h 4998171"/>
                <a:gd name="connsiteX24" fmla="*/ 2032000 w 4570627"/>
                <a:gd name="connsiteY24" fmla="*/ 584199 h 4998171"/>
                <a:gd name="connsiteX25" fmla="*/ 2133600 w 4570627"/>
                <a:gd name="connsiteY25" fmla="*/ 596899 h 4998171"/>
                <a:gd name="connsiteX26" fmla="*/ 2171700 w 4570627"/>
                <a:gd name="connsiteY26" fmla="*/ 463549 h 4998171"/>
                <a:gd name="connsiteX27" fmla="*/ 2146300 w 4570627"/>
                <a:gd name="connsiteY27" fmla="*/ 323849 h 4998171"/>
                <a:gd name="connsiteX28" fmla="*/ 2216150 w 4570627"/>
                <a:gd name="connsiteY28" fmla="*/ 241299 h 4998171"/>
                <a:gd name="connsiteX29" fmla="*/ 2279650 w 4570627"/>
                <a:gd name="connsiteY29" fmla="*/ 234949 h 4998171"/>
                <a:gd name="connsiteX30" fmla="*/ 2305050 w 4570627"/>
                <a:gd name="connsiteY30" fmla="*/ 330199 h 4998171"/>
                <a:gd name="connsiteX31" fmla="*/ 2374900 w 4570627"/>
                <a:gd name="connsiteY31" fmla="*/ 393699 h 4998171"/>
                <a:gd name="connsiteX32" fmla="*/ 2381250 w 4570627"/>
                <a:gd name="connsiteY32" fmla="*/ 457199 h 4998171"/>
                <a:gd name="connsiteX33" fmla="*/ 2514600 w 4570627"/>
                <a:gd name="connsiteY33" fmla="*/ 406399 h 4998171"/>
                <a:gd name="connsiteX34" fmla="*/ 2641600 w 4570627"/>
                <a:gd name="connsiteY34" fmla="*/ 380999 h 4998171"/>
                <a:gd name="connsiteX35" fmla="*/ 2686050 w 4570627"/>
                <a:gd name="connsiteY35" fmla="*/ 419099 h 4998171"/>
                <a:gd name="connsiteX36" fmla="*/ 2774950 w 4570627"/>
                <a:gd name="connsiteY36" fmla="*/ 368299 h 4998171"/>
                <a:gd name="connsiteX37" fmla="*/ 2796953 w 4570627"/>
                <a:gd name="connsiteY37" fmla="*/ 370395 h 4998171"/>
                <a:gd name="connsiteX38" fmla="*/ 2787650 w 4570627"/>
                <a:gd name="connsiteY38" fmla="*/ 349251 h 4998171"/>
                <a:gd name="connsiteX39" fmla="*/ 2857500 w 4570627"/>
                <a:gd name="connsiteY39" fmla="*/ 508000 h 4998171"/>
                <a:gd name="connsiteX40" fmla="*/ 2971800 w 4570627"/>
                <a:gd name="connsiteY40" fmla="*/ 533400 h 4998171"/>
                <a:gd name="connsiteX41" fmla="*/ 3054350 w 4570627"/>
                <a:gd name="connsiteY41" fmla="*/ 552450 h 4998171"/>
                <a:gd name="connsiteX42" fmla="*/ 3093057 w 4570627"/>
                <a:gd name="connsiteY42" fmla="*/ 707280 h 4998171"/>
                <a:gd name="connsiteX43" fmla="*/ 3011086 w 4570627"/>
                <a:gd name="connsiteY43" fmla="*/ 588422 h 4998171"/>
                <a:gd name="connsiteX44" fmla="*/ 2924805 w 4570627"/>
                <a:gd name="connsiteY44" fmla="*/ 674703 h 4998171"/>
                <a:gd name="connsiteX45" fmla="*/ 3026774 w 4570627"/>
                <a:gd name="connsiteY45" fmla="*/ 784515 h 4998171"/>
                <a:gd name="connsiteX46" fmla="*/ 3050305 w 4570627"/>
                <a:gd name="connsiteY46" fmla="*/ 957077 h 4998171"/>
                <a:gd name="connsiteX47" fmla="*/ 3348367 w 4570627"/>
                <a:gd name="connsiteY47" fmla="*/ 1129640 h 4998171"/>
                <a:gd name="connsiteX48" fmla="*/ 3411117 w 4570627"/>
                <a:gd name="connsiteY48" fmla="*/ 1239452 h 4998171"/>
                <a:gd name="connsiteX49" fmla="*/ 3262086 w 4570627"/>
                <a:gd name="connsiteY49" fmla="*/ 1419858 h 4998171"/>
                <a:gd name="connsiteX50" fmla="*/ 3395429 w 4570627"/>
                <a:gd name="connsiteY50" fmla="*/ 1663014 h 4998171"/>
                <a:gd name="connsiteX51" fmla="*/ 3489554 w 4570627"/>
                <a:gd name="connsiteY51" fmla="*/ 1945388 h 4998171"/>
                <a:gd name="connsiteX52" fmla="*/ 3638585 w 4570627"/>
                <a:gd name="connsiteY52" fmla="*/ 2110107 h 4998171"/>
                <a:gd name="connsiteX53" fmla="*/ 3756241 w 4570627"/>
                <a:gd name="connsiteY53" fmla="*/ 2015982 h 4998171"/>
                <a:gd name="connsiteX54" fmla="*/ 3905271 w 4570627"/>
                <a:gd name="connsiteY54" fmla="*/ 2259138 h 4998171"/>
                <a:gd name="connsiteX55" fmla="*/ 4007240 w 4570627"/>
                <a:gd name="connsiteY55" fmla="*/ 2376794 h 4998171"/>
                <a:gd name="connsiteX56" fmla="*/ 4124896 w 4570627"/>
                <a:gd name="connsiteY56" fmla="*/ 2376794 h 4998171"/>
                <a:gd name="connsiteX57" fmla="*/ 4328833 w 4570627"/>
                <a:gd name="connsiteY57" fmla="*/ 2659168 h 4998171"/>
                <a:gd name="connsiteX58" fmla="*/ 4446489 w 4570627"/>
                <a:gd name="connsiteY58" fmla="*/ 2643481 h 4998171"/>
                <a:gd name="connsiteX59" fmla="*/ 4564145 w 4570627"/>
                <a:gd name="connsiteY59" fmla="*/ 2768981 h 4998171"/>
                <a:gd name="connsiteX60" fmla="*/ 4570627 w 4570627"/>
                <a:gd name="connsiteY60" fmla="*/ 2778981 h 4998171"/>
                <a:gd name="connsiteX61" fmla="*/ 4493946 w 4570627"/>
                <a:gd name="connsiteY61" fmla="*/ 3147049 h 4998171"/>
                <a:gd name="connsiteX62" fmla="*/ 4274322 w 4570627"/>
                <a:gd name="connsiteY62" fmla="*/ 3162736 h 4998171"/>
                <a:gd name="connsiteX63" fmla="*/ 4180197 w 4570627"/>
                <a:gd name="connsiteY63" fmla="*/ 3492173 h 4998171"/>
                <a:gd name="connsiteX64" fmla="*/ 3819386 w 4570627"/>
                <a:gd name="connsiteY64" fmla="*/ 3617673 h 4998171"/>
                <a:gd name="connsiteX65" fmla="*/ 3552699 w 4570627"/>
                <a:gd name="connsiteY65" fmla="*/ 3774548 h 4998171"/>
                <a:gd name="connsiteX66" fmla="*/ 3552699 w 4570627"/>
                <a:gd name="connsiteY66" fmla="*/ 3884360 h 4998171"/>
                <a:gd name="connsiteX67" fmla="*/ 3788011 w 4570627"/>
                <a:gd name="connsiteY67" fmla="*/ 4088297 h 4998171"/>
                <a:gd name="connsiteX68" fmla="*/ 3772323 w 4570627"/>
                <a:gd name="connsiteY68" fmla="*/ 4307922 h 4998171"/>
                <a:gd name="connsiteX69" fmla="*/ 3866448 w 4570627"/>
                <a:gd name="connsiteY69" fmla="*/ 4417734 h 4998171"/>
                <a:gd name="connsiteX70" fmla="*/ 3897823 w 4570627"/>
                <a:gd name="connsiteY70" fmla="*/ 4653047 h 4998171"/>
                <a:gd name="connsiteX71" fmla="*/ 3819386 w 4570627"/>
                <a:gd name="connsiteY71" fmla="*/ 4762859 h 4998171"/>
                <a:gd name="connsiteX72" fmla="*/ 3662511 w 4570627"/>
                <a:gd name="connsiteY72" fmla="*/ 4684421 h 4998171"/>
                <a:gd name="connsiteX73" fmla="*/ 3615449 w 4570627"/>
                <a:gd name="connsiteY73" fmla="*/ 4605984 h 4998171"/>
                <a:gd name="connsiteX74" fmla="*/ 3615449 w 4570627"/>
                <a:gd name="connsiteY74" fmla="*/ 4464797 h 4998171"/>
                <a:gd name="connsiteX75" fmla="*/ 3458574 w 4570627"/>
                <a:gd name="connsiteY75" fmla="*/ 4402047 h 4998171"/>
                <a:gd name="connsiteX76" fmla="*/ 3395824 w 4570627"/>
                <a:gd name="connsiteY76" fmla="*/ 4527547 h 4998171"/>
                <a:gd name="connsiteX77" fmla="*/ 3160513 w 4570627"/>
                <a:gd name="connsiteY77" fmla="*/ 4449109 h 4998171"/>
                <a:gd name="connsiteX78" fmla="*/ 3144825 w 4570627"/>
                <a:gd name="connsiteY78" fmla="*/ 4386359 h 4998171"/>
                <a:gd name="connsiteX79" fmla="*/ 2940888 w 4570627"/>
                <a:gd name="connsiteY79" fmla="*/ 4464797 h 4998171"/>
                <a:gd name="connsiteX80" fmla="*/ 2831076 w 4570627"/>
                <a:gd name="connsiteY80" fmla="*/ 4574609 h 4998171"/>
                <a:gd name="connsiteX81" fmla="*/ 2564389 w 4570627"/>
                <a:gd name="connsiteY81" fmla="*/ 4605984 h 4998171"/>
                <a:gd name="connsiteX82" fmla="*/ 2329077 w 4570627"/>
                <a:gd name="connsiteY82" fmla="*/ 4621672 h 4998171"/>
                <a:gd name="connsiteX83" fmla="*/ 2125140 w 4570627"/>
                <a:gd name="connsiteY83" fmla="*/ 4809921 h 4998171"/>
                <a:gd name="connsiteX84" fmla="*/ 1936891 w 4570627"/>
                <a:gd name="connsiteY84" fmla="*/ 4856984 h 4998171"/>
                <a:gd name="connsiteX85" fmla="*/ 1717266 w 4570627"/>
                <a:gd name="connsiteY85" fmla="*/ 4747171 h 4998171"/>
                <a:gd name="connsiteX86" fmla="*/ 1701579 w 4570627"/>
                <a:gd name="connsiteY86" fmla="*/ 4621672 h 4998171"/>
                <a:gd name="connsiteX87" fmla="*/ 1576079 w 4570627"/>
                <a:gd name="connsiteY87" fmla="*/ 4574609 h 4998171"/>
                <a:gd name="connsiteX88" fmla="*/ 1419205 w 4570627"/>
                <a:gd name="connsiteY88" fmla="*/ 4574609 h 4998171"/>
                <a:gd name="connsiteX89" fmla="*/ 1340768 w 4570627"/>
                <a:gd name="connsiteY89" fmla="*/ 4668734 h 4998171"/>
                <a:gd name="connsiteX90" fmla="*/ 1309393 w 4570627"/>
                <a:gd name="connsiteY90" fmla="*/ 4825609 h 4998171"/>
                <a:gd name="connsiteX91" fmla="*/ 1246643 w 4570627"/>
                <a:gd name="connsiteY91" fmla="*/ 4919734 h 4998171"/>
                <a:gd name="connsiteX92" fmla="*/ 1152518 w 4570627"/>
                <a:gd name="connsiteY92" fmla="*/ 4998171 h 4998171"/>
                <a:gd name="connsiteX93" fmla="*/ 964268 w 4570627"/>
                <a:gd name="connsiteY93" fmla="*/ 4951109 h 4998171"/>
                <a:gd name="connsiteX94" fmla="*/ 948581 w 4570627"/>
                <a:gd name="connsiteY94" fmla="*/ 4684421 h 4998171"/>
                <a:gd name="connsiteX95" fmla="*/ 807394 w 4570627"/>
                <a:gd name="connsiteY95" fmla="*/ 4590297 h 4998171"/>
                <a:gd name="connsiteX96" fmla="*/ 773692 w 4570627"/>
                <a:gd name="connsiteY96" fmla="*/ 4590297 h 4998171"/>
                <a:gd name="connsiteX97" fmla="*/ 802640 w 4570627"/>
                <a:gd name="connsiteY97" fmla="*/ 4538979 h 4998171"/>
                <a:gd name="connsiteX98" fmla="*/ 894080 w 4570627"/>
                <a:gd name="connsiteY98" fmla="*/ 4439919 h 4998171"/>
                <a:gd name="connsiteX99" fmla="*/ 1122680 w 4570627"/>
                <a:gd name="connsiteY99" fmla="*/ 4470399 h 4998171"/>
                <a:gd name="connsiteX100" fmla="*/ 1168400 w 4570627"/>
                <a:gd name="connsiteY100" fmla="*/ 4401819 h 4998171"/>
                <a:gd name="connsiteX101" fmla="*/ 1122680 w 4570627"/>
                <a:gd name="connsiteY101" fmla="*/ 4272279 h 4998171"/>
                <a:gd name="connsiteX102" fmla="*/ 1160780 w 4570627"/>
                <a:gd name="connsiteY102" fmla="*/ 4218939 h 4998171"/>
                <a:gd name="connsiteX103" fmla="*/ 1130300 w 4570627"/>
                <a:gd name="connsiteY103" fmla="*/ 4127499 h 4998171"/>
                <a:gd name="connsiteX104" fmla="*/ 1160780 w 4570627"/>
                <a:gd name="connsiteY104" fmla="*/ 3807459 h 4998171"/>
                <a:gd name="connsiteX105" fmla="*/ 1038860 w 4570627"/>
                <a:gd name="connsiteY105" fmla="*/ 3395979 h 4998171"/>
                <a:gd name="connsiteX106" fmla="*/ 1130300 w 4570627"/>
                <a:gd name="connsiteY106" fmla="*/ 3235959 h 4998171"/>
                <a:gd name="connsiteX107" fmla="*/ 1183640 w 4570627"/>
                <a:gd name="connsiteY107" fmla="*/ 3274059 h 4998171"/>
                <a:gd name="connsiteX108" fmla="*/ 1336040 w 4570627"/>
                <a:gd name="connsiteY108" fmla="*/ 3174999 h 4998171"/>
                <a:gd name="connsiteX109" fmla="*/ 1351280 w 4570627"/>
                <a:gd name="connsiteY109" fmla="*/ 3045459 h 4998171"/>
                <a:gd name="connsiteX110" fmla="*/ 1290320 w 4570627"/>
                <a:gd name="connsiteY110" fmla="*/ 2969259 h 4998171"/>
                <a:gd name="connsiteX111" fmla="*/ 1290320 w 4570627"/>
                <a:gd name="connsiteY111" fmla="*/ 2923539 h 4998171"/>
                <a:gd name="connsiteX112" fmla="*/ 1366520 w 4570627"/>
                <a:gd name="connsiteY112" fmla="*/ 2923539 h 4998171"/>
                <a:gd name="connsiteX113" fmla="*/ 1389380 w 4570627"/>
                <a:gd name="connsiteY113" fmla="*/ 2969259 h 4998171"/>
                <a:gd name="connsiteX114" fmla="*/ 1518920 w 4570627"/>
                <a:gd name="connsiteY114" fmla="*/ 2938779 h 4998171"/>
                <a:gd name="connsiteX115" fmla="*/ 1503680 w 4570627"/>
                <a:gd name="connsiteY115" fmla="*/ 2847339 h 4998171"/>
                <a:gd name="connsiteX116" fmla="*/ 1450340 w 4570627"/>
                <a:gd name="connsiteY116" fmla="*/ 2786379 h 4998171"/>
                <a:gd name="connsiteX117" fmla="*/ 1488440 w 4570627"/>
                <a:gd name="connsiteY117" fmla="*/ 2573019 h 4998171"/>
                <a:gd name="connsiteX118" fmla="*/ 1389380 w 4570627"/>
                <a:gd name="connsiteY118" fmla="*/ 2420619 h 4998171"/>
                <a:gd name="connsiteX119" fmla="*/ 1297940 w 4570627"/>
                <a:gd name="connsiteY119" fmla="*/ 2405379 h 4998171"/>
                <a:gd name="connsiteX120" fmla="*/ 1244600 w 4570627"/>
                <a:gd name="connsiteY120" fmla="*/ 2306319 h 4998171"/>
                <a:gd name="connsiteX121" fmla="*/ 1282700 w 4570627"/>
                <a:gd name="connsiteY121" fmla="*/ 2252979 h 4998171"/>
                <a:gd name="connsiteX122" fmla="*/ 1183640 w 4570627"/>
                <a:gd name="connsiteY122" fmla="*/ 2146299 h 4998171"/>
                <a:gd name="connsiteX123" fmla="*/ 1168400 w 4570627"/>
                <a:gd name="connsiteY123" fmla="*/ 2047239 h 4998171"/>
                <a:gd name="connsiteX124" fmla="*/ 1183640 w 4570627"/>
                <a:gd name="connsiteY124" fmla="*/ 2016759 h 4998171"/>
                <a:gd name="connsiteX125" fmla="*/ 1153160 w 4570627"/>
                <a:gd name="connsiteY125" fmla="*/ 1887219 h 4998171"/>
                <a:gd name="connsiteX126" fmla="*/ 1176020 w 4570627"/>
                <a:gd name="connsiteY126" fmla="*/ 1871979 h 4998171"/>
                <a:gd name="connsiteX127" fmla="*/ 1145540 w 4570627"/>
                <a:gd name="connsiteY127" fmla="*/ 1658619 h 4998171"/>
                <a:gd name="connsiteX128" fmla="*/ 1099820 w 4570627"/>
                <a:gd name="connsiteY128" fmla="*/ 1620519 h 4998171"/>
                <a:gd name="connsiteX129" fmla="*/ 1076960 w 4570627"/>
                <a:gd name="connsiteY129" fmla="*/ 1643379 h 4998171"/>
                <a:gd name="connsiteX130" fmla="*/ 1069340 w 4570627"/>
                <a:gd name="connsiteY130" fmla="*/ 1711959 h 4998171"/>
                <a:gd name="connsiteX131" fmla="*/ 970280 w 4570627"/>
                <a:gd name="connsiteY131" fmla="*/ 1719579 h 4998171"/>
                <a:gd name="connsiteX132" fmla="*/ 932180 w 4570627"/>
                <a:gd name="connsiteY132" fmla="*/ 1574799 h 4998171"/>
                <a:gd name="connsiteX133" fmla="*/ 871220 w 4570627"/>
                <a:gd name="connsiteY133" fmla="*/ 1620519 h 4998171"/>
                <a:gd name="connsiteX134" fmla="*/ 855980 w 4570627"/>
                <a:gd name="connsiteY134" fmla="*/ 1574799 h 4998171"/>
                <a:gd name="connsiteX135" fmla="*/ 924560 w 4570627"/>
                <a:gd name="connsiteY135" fmla="*/ 1513839 h 4998171"/>
                <a:gd name="connsiteX136" fmla="*/ 855980 w 4570627"/>
                <a:gd name="connsiteY136" fmla="*/ 1384299 h 4998171"/>
                <a:gd name="connsiteX137" fmla="*/ 825500 w 4570627"/>
                <a:gd name="connsiteY137" fmla="*/ 1330959 h 4998171"/>
                <a:gd name="connsiteX138" fmla="*/ 787400 w 4570627"/>
                <a:gd name="connsiteY138" fmla="*/ 1430019 h 4998171"/>
                <a:gd name="connsiteX139" fmla="*/ 772160 w 4570627"/>
                <a:gd name="connsiteY139" fmla="*/ 1369059 h 4998171"/>
                <a:gd name="connsiteX140" fmla="*/ 688340 w 4570627"/>
                <a:gd name="connsiteY140" fmla="*/ 1422399 h 4998171"/>
                <a:gd name="connsiteX141" fmla="*/ 695960 w 4570627"/>
                <a:gd name="connsiteY141" fmla="*/ 1277619 h 4998171"/>
                <a:gd name="connsiteX142" fmla="*/ 497840 w 4570627"/>
                <a:gd name="connsiteY142" fmla="*/ 1262379 h 4998171"/>
                <a:gd name="connsiteX143" fmla="*/ 353060 w 4570627"/>
                <a:gd name="connsiteY143" fmla="*/ 1315719 h 4998171"/>
                <a:gd name="connsiteX144" fmla="*/ 467360 w 4570627"/>
                <a:gd name="connsiteY144" fmla="*/ 1376679 h 4998171"/>
                <a:gd name="connsiteX145" fmla="*/ 474980 w 4570627"/>
                <a:gd name="connsiteY145" fmla="*/ 1452879 h 4998171"/>
                <a:gd name="connsiteX146" fmla="*/ 391160 w 4570627"/>
                <a:gd name="connsiteY146" fmla="*/ 1452879 h 4998171"/>
                <a:gd name="connsiteX147" fmla="*/ 360680 w 4570627"/>
                <a:gd name="connsiteY147" fmla="*/ 1551939 h 4998171"/>
                <a:gd name="connsiteX148" fmla="*/ 132080 w 4570627"/>
                <a:gd name="connsiteY148" fmla="*/ 1567179 h 4998171"/>
                <a:gd name="connsiteX149" fmla="*/ 69850 w 4570627"/>
                <a:gd name="connsiteY149" fmla="*/ 1533990 h 4998171"/>
                <a:gd name="connsiteX150" fmla="*/ 69850 w 4570627"/>
                <a:gd name="connsiteY150" fmla="*/ 1435099 h 4998171"/>
                <a:gd name="connsiteX151" fmla="*/ 146050 w 4570627"/>
                <a:gd name="connsiteY151" fmla="*/ 1295399 h 4998171"/>
                <a:gd name="connsiteX152" fmla="*/ 82550 w 4570627"/>
                <a:gd name="connsiteY152" fmla="*/ 1193799 h 4998171"/>
                <a:gd name="connsiteX153" fmla="*/ 25400 w 4570627"/>
                <a:gd name="connsiteY153" fmla="*/ 1168399 h 4998171"/>
                <a:gd name="connsiteX154" fmla="*/ 31750 w 4570627"/>
                <a:gd name="connsiteY154" fmla="*/ 952499 h 4998171"/>
                <a:gd name="connsiteX155" fmla="*/ 0 w 4570627"/>
                <a:gd name="connsiteY155" fmla="*/ 876299 h 4998171"/>
                <a:gd name="connsiteX156" fmla="*/ 0 w 4570627"/>
                <a:gd name="connsiteY156" fmla="*/ 774699 h 4998171"/>
                <a:gd name="connsiteX157" fmla="*/ 107950 w 4570627"/>
                <a:gd name="connsiteY157" fmla="*/ 755649 h 4998171"/>
                <a:gd name="connsiteX158" fmla="*/ 127000 w 4570627"/>
                <a:gd name="connsiteY158" fmla="*/ 806449 h 4998171"/>
                <a:gd name="connsiteX159" fmla="*/ 215900 w 4570627"/>
                <a:gd name="connsiteY159" fmla="*/ 749299 h 4998171"/>
                <a:gd name="connsiteX160" fmla="*/ 368300 w 4570627"/>
                <a:gd name="connsiteY160" fmla="*/ 749299 h 4998171"/>
                <a:gd name="connsiteX161" fmla="*/ 368300 w 4570627"/>
                <a:gd name="connsiteY161" fmla="*/ 800099 h 4998171"/>
                <a:gd name="connsiteX162" fmla="*/ 495300 w 4570627"/>
                <a:gd name="connsiteY162" fmla="*/ 800099 h 4998171"/>
                <a:gd name="connsiteX163" fmla="*/ 488950 w 4570627"/>
                <a:gd name="connsiteY163" fmla="*/ 711199 h 4998171"/>
                <a:gd name="connsiteX164" fmla="*/ 488950 w 4570627"/>
                <a:gd name="connsiteY164" fmla="*/ 603249 h 4998171"/>
                <a:gd name="connsiteX165" fmla="*/ 596900 w 4570627"/>
                <a:gd name="connsiteY165" fmla="*/ 615949 h 4998171"/>
                <a:gd name="connsiteX166" fmla="*/ 679450 w 4570627"/>
                <a:gd name="connsiteY166" fmla="*/ 514349 h 4998171"/>
                <a:gd name="connsiteX167" fmla="*/ 717550 w 4570627"/>
                <a:gd name="connsiteY167" fmla="*/ 311149 h 4998171"/>
                <a:gd name="connsiteX168" fmla="*/ 812800 w 4570627"/>
                <a:gd name="connsiteY168" fmla="*/ 361949 h 4998171"/>
                <a:gd name="connsiteX169" fmla="*/ 952500 w 4570627"/>
                <a:gd name="connsiteY169" fmla="*/ 266699 h 4998171"/>
                <a:gd name="connsiteX170" fmla="*/ 979517 w 4570627"/>
                <a:gd name="connsiteY170" fmla="*/ 226176 h 4998171"/>
                <a:gd name="connsiteX171" fmla="*/ 977900 w 4570627"/>
                <a:gd name="connsiteY171" fmla="*/ 273049 h 4998171"/>
                <a:gd name="connsiteX172" fmla="*/ 1060450 w 4570627"/>
                <a:gd name="connsiteY172" fmla="*/ 177799 h 4998171"/>
                <a:gd name="connsiteX173" fmla="*/ 869950 w 4570627"/>
                <a:gd name="connsiteY173" fmla="*/ 69850 h 4998171"/>
                <a:gd name="connsiteX174" fmla="*/ 869950 w 4570627"/>
                <a:gd name="connsiteY174" fmla="*/ 69849 h 4998171"/>
                <a:gd name="connsiteX175" fmla="*/ 920750 w 4570627"/>
                <a:gd name="connsiteY175" fmla="*/ 57149 h 4998171"/>
                <a:gd name="connsiteX176" fmla="*/ 920750 w 4570627"/>
                <a:gd name="connsiteY176" fmla="*/ 57150 h 4998171"/>
                <a:gd name="connsiteX177" fmla="*/ 869950 w 4570627"/>
                <a:gd name="connsiteY177" fmla="*/ 69850 h 4998171"/>
                <a:gd name="connsiteX178" fmla="*/ 984250 w 4570627"/>
                <a:gd name="connsiteY178" fmla="*/ 0 h 4998171"/>
                <a:gd name="connsiteX179" fmla="*/ 1022350 w 4570627"/>
                <a:gd name="connsiteY179" fmla="*/ 50799 h 4998171"/>
                <a:gd name="connsiteX180" fmla="*/ 1022350 w 4570627"/>
                <a:gd name="connsiteY180" fmla="*/ 50800 h 4998171"/>
                <a:gd name="connsiteX181" fmla="*/ 984250 w 4570627"/>
                <a:gd name="connsiteY181" fmla="*/ 0 h 4998171"/>
                <a:gd name="connsiteX0" fmla="*/ 555179 w 4570627"/>
                <a:gd name="connsiteY0" fmla="*/ 4669234 h 4998171"/>
                <a:gd name="connsiteX1" fmla="*/ 555179 w 4570627"/>
                <a:gd name="connsiteY1" fmla="*/ 4669234 h 4998171"/>
                <a:gd name="connsiteX2" fmla="*/ 546724 w 4570627"/>
                <a:gd name="connsiteY2" fmla="*/ 4693834 h 4998171"/>
                <a:gd name="connsiteX3" fmla="*/ 546723 w 4570627"/>
                <a:gd name="connsiteY3" fmla="*/ 4693834 h 4998171"/>
                <a:gd name="connsiteX4" fmla="*/ 555179 w 4570627"/>
                <a:gd name="connsiteY4" fmla="*/ 4669234 h 4998171"/>
                <a:gd name="connsiteX5" fmla="*/ 1060450 w 4570627"/>
                <a:gd name="connsiteY5" fmla="*/ 177799 h 4998171"/>
                <a:gd name="connsiteX6" fmla="*/ 1149350 w 4570627"/>
                <a:gd name="connsiteY6" fmla="*/ 215899 h 4998171"/>
                <a:gd name="connsiteX7" fmla="*/ 1263650 w 4570627"/>
                <a:gd name="connsiteY7" fmla="*/ 292099 h 4998171"/>
                <a:gd name="connsiteX8" fmla="*/ 1320800 w 4570627"/>
                <a:gd name="connsiteY8" fmla="*/ 412749 h 4998171"/>
                <a:gd name="connsiteX9" fmla="*/ 1371600 w 4570627"/>
                <a:gd name="connsiteY9" fmla="*/ 393699 h 4998171"/>
                <a:gd name="connsiteX10" fmla="*/ 1479550 w 4570627"/>
                <a:gd name="connsiteY10" fmla="*/ 501649 h 4998171"/>
                <a:gd name="connsiteX11" fmla="*/ 1530350 w 4570627"/>
                <a:gd name="connsiteY11" fmla="*/ 666749 h 4998171"/>
                <a:gd name="connsiteX12" fmla="*/ 1612900 w 4570627"/>
                <a:gd name="connsiteY12" fmla="*/ 711199 h 4998171"/>
                <a:gd name="connsiteX13" fmla="*/ 1638300 w 4570627"/>
                <a:gd name="connsiteY13" fmla="*/ 641349 h 4998171"/>
                <a:gd name="connsiteX14" fmla="*/ 1739900 w 4570627"/>
                <a:gd name="connsiteY14" fmla="*/ 647699 h 4998171"/>
                <a:gd name="connsiteX15" fmla="*/ 1746250 w 4570627"/>
                <a:gd name="connsiteY15" fmla="*/ 596899 h 4998171"/>
                <a:gd name="connsiteX16" fmla="*/ 1689100 w 4570627"/>
                <a:gd name="connsiteY16" fmla="*/ 565149 h 4998171"/>
                <a:gd name="connsiteX17" fmla="*/ 1638300 w 4570627"/>
                <a:gd name="connsiteY17" fmla="*/ 520699 h 4998171"/>
                <a:gd name="connsiteX18" fmla="*/ 1625600 w 4570627"/>
                <a:gd name="connsiteY18" fmla="*/ 469899 h 4998171"/>
                <a:gd name="connsiteX19" fmla="*/ 1778000 w 4570627"/>
                <a:gd name="connsiteY19" fmla="*/ 412749 h 4998171"/>
                <a:gd name="connsiteX20" fmla="*/ 1879600 w 4570627"/>
                <a:gd name="connsiteY20" fmla="*/ 425449 h 4998171"/>
                <a:gd name="connsiteX21" fmla="*/ 1873250 w 4570627"/>
                <a:gd name="connsiteY21" fmla="*/ 488949 h 4998171"/>
                <a:gd name="connsiteX22" fmla="*/ 1981200 w 4570627"/>
                <a:gd name="connsiteY22" fmla="*/ 482599 h 4998171"/>
                <a:gd name="connsiteX23" fmla="*/ 2006600 w 4570627"/>
                <a:gd name="connsiteY23" fmla="*/ 482599 h 4998171"/>
                <a:gd name="connsiteX24" fmla="*/ 2032000 w 4570627"/>
                <a:gd name="connsiteY24" fmla="*/ 584199 h 4998171"/>
                <a:gd name="connsiteX25" fmla="*/ 2133600 w 4570627"/>
                <a:gd name="connsiteY25" fmla="*/ 596899 h 4998171"/>
                <a:gd name="connsiteX26" fmla="*/ 2171700 w 4570627"/>
                <a:gd name="connsiteY26" fmla="*/ 463549 h 4998171"/>
                <a:gd name="connsiteX27" fmla="*/ 2146300 w 4570627"/>
                <a:gd name="connsiteY27" fmla="*/ 323849 h 4998171"/>
                <a:gd name="connsiteX28" fmla="*/ 2216150 w 4570627"/>
                <a:gd name="connsiteY28" fmla="*/ 241299 h 4998171"/>
                <a:gd name="connsiteX29" fmla="*/ 2279650 w 4570627"/>
                <a:gd name="connsiteY29" fmla="*/ 234949 h 4998171"/>
                <a:gd name="connsiteX30" fmla="*/ 2305050 w 4570627"/>
                <a:gd name="connsiteY30" fmla="*/ 330199 h 4998171"/>
                <a:gd name="connsiteX31" fmla="*/ 2374900 w 4570627"/>
                <a:gd name="connsiteY31" fmla="*/ 393699 h 4998171"/>
                <a:gd name="connsiteX32" fmla="*/ 2381250 w 4570627"/>
                <a:gd name="connsiteY32" fmla="*/ 457199 h 4998171"/>
                <a:gd name="connsiteX33" fmla="*/ 2514600 w 4570627"/>
                <a:gd name="connsiteY33" fmla="*/ 406399 h 4998171"/>
                <a:gd name="connsiteX34" fmla="*/ 2641600 w 4570627"/>
                <a:gd name="connsiteY34" fmla="*/ 380999 h 4998171"/>
                <a:gd name="connsiteX35" fmla="*/ 2686050 w 4570627"/>
                <a:gd name="connsiteY35" fmla="*/ 419099 h 4998171"/>
                <a:gd name="connsiteX36" fmla="*/ 2774950 w 4570627"/>
                <a:gd name="connsiteY36" fmla="*/ 368299 h 4998171"/>
                <a:gd name="connsiteX37" fmla="*/ 2796953 w 4570627"/>
                <a:gd name="connsiteY37" fmla="*/ 370395 h 4998171"/>
                <a:gd name="connsiteX38" fmla="*/ 2787650 w 4570627"/>
                <a:gd name="connsiteY38" fmla="*/ 349251 h 4998171"/>
                <a:gd name="connsiteX39" fmla="*/ 2857500 w 4570627"/>
                <a:gd name="connsiteY39" fmla="*/ 508000 h 4998171"/>
                <a:gd name="connsiteX40" fmla="*/ 2971800 w 4570627"/>
                <a:gd name="connsiteY40" fmla="*/ 533400 h 4998171"/>
                <a:gd name="connsiteX41" fmla="*/ 3054350 w 4570627"/>
                <a:gd name="connsiteY41" fmla="*/ 552450 h 4998171"/>
                <a:gd name="connsiteX42" fmla="*/ 3093057 w 4570627"/>
                <a:gd name="connsiteY42" fmla="*/ 707280 h 4998171"/>
                <a:gd name="connsiteX43" fmla="*/ 3011086 w 4570627"/>
                <a:gd name="connsiteY43" fmla="*/ 588422 h 4998171"/>
                <a:gd name="connsiteX44" fmla="*/ 2924805 w 4570627"/>
                <a:gd name="connsiteY44" fmla="*/ 674703 h 4998171"/>
                <a:gd name="connsiteX45" fmla="*/ 3026774 w 4570627"/>
                <a:gd name="connsiteY45" fmla="*/ 784515 h 4998171"/>
                <a:gd name="connsiteX46" fmla="*/ 3050305 w 4570627"/>
                <a:gd name="connsiteY46" fmla="*/ 957077 h 4998171"/>
                <a:gd name="connsiteX47" fmla="*/ 3348367 w 4570627"/>
                <a:gd name="connsiteY47" fmla="*/ 1129640 h 4998171"/>
                <a:gd name="connsiteX48" fmla="*/ 3411117 w 4570627"/>
                <a:gd name="connsiteY48" fmla="*/ 1239452 h 4998171"/>
                <a:gd name="connsiteX49" fmla="*/ 3262086 w 4570627"/>
                <a:gd name="connsiteY49" fmla="*/ 1419858 h 4998171"/>
                <a:gd name="connsiteX50" fmla="*/ 3395429 w 4570627"/>
                <a:gd name="connsiteY50" fmla="*/ 1663014 h 4998171"/>
                <a:gd name="connsiteX51" fmla="*/ 3489554 w 4570627"/>
                <a:gd name="connsiteY51" fmla="*/ 1945388 h 4998171"/>
                <a:gd name="connsiteX52" fmla="*/ 3638585 w 4570627"/>
                <a:gd name="connsiteY52" fmla="*/ 2110107 h 4998171"/>
                <a:gd name="connsiteX53" fmla="*/ 3756241 w 4570627"/>
                <a:gd name="connsiteY53" fmla="*/ 2015982 h 4998171"/>
                <a:gd name="connsiteX54" fmla="*/ 3905271 w 4570627"/>
                <a:gd name="connsiteY54" fmla="*/ 2259138 h 4998171"/>
                <a:gd name="connsiteX55" fmla="*/ 4007240 w 4570627"/>
                <a:gd name="connsiteY55" fmla="*/ 2376794 h 4998171"/>
                <a:gd name="connsiteX56" fmla="*/ 4124896 w 4570627"/>
                <a:gd name="connsiteY56" fmla="*/ 2376794 h 4998171"/>
                <a:gd name="connsiteX57" fmla="*/ 4328833 w 4570627"/>
                <a:gd name="connsiteY57" fmla="*/ 2659168 h 4998171"/>
                <a:gd name="connsiteX58" fmla="*/ 4446489 w 4570627"/>
                <a:gd name="connsiteY58" fmla="*/ 2643481 h 4998171"/>
                <a:gd name="connsiteX59" fmla="*/ 4564145 w 4570627"/>
                <a:gd name="connsiteY59" fmla="*/ 2768981 h 4998171"/>
                <a:gd name="connsiteX60" fmla="*/ 4570627 w 4570627"/>
                <a:gd name="connsiteY60" fmla="*/ 2778981 h 4998171"/>
                <a:gd name="connsiteX61" fmla="*/ 4493946 w 4570627"/>
                <a:gd name="connsiteY61" fmla="*/ 3147049 h 4998171"/>
                <a:gd name="connsiteX62" fmla="*/ 4274322 w 4570627"/>
                <a:gd name="connsiteY62" fmla="*/ 3162736 h 4998171"/>
                <a:gd name="connsiteX63" fmla="*/ 4180197 w 4570627"/>
                <a:gd name="connsiteY63" fmla="*/ 3492173 h 4998171"/>
                <a:gd name="connsiteX64" fmla="*/ 3819386 w 4570627"/>
                <a:gd name="connsiteY64" fmla="*/ 3617673 h 4998171"/>
                <a:gd name="connsiteX65" fmla="*/ 3552699 w 4570627"/>
                <a:gd name="connsiteY65" fmla="*/ 3774548 h 4998171"/>
                <a:gd name="connsiteX66" fmla="*/ 3552699 w 4570627"/>
                <a:gd name="connsiteY66" fmla="*/ 3884360 h 4998171"/>
                <a:gd name="connsiteX67" fmla="*/ 3788011 w 4570627"/>
                <a:gd name="connsiteY67" fmla="*/ 4088297 h 4998171"/>
                <a:gd name="connsiteX68" fmla="*/ 3772323 w 4570627"/>
                <a:gd name="connsiteY68" fmla="*/ 4307922 h 4998171"/>
                <a:gd name="connsiteX69" fmla="*/ 3866448 w 4570627"/>
                <a:gd name="connsiteY69" fmla="*/ 4417734 h 4998171"/>
                <a:gd name="connsiteX70" fmla="*/ 3897823 w 4570627"/>
                <a:gd name="connsiteY70" fmla="*/ 4653047 h 4998171"/>
                <a:gd name="connsiteX71" fmla="*/ 3819386 w 4570627"/>
                <a:gd name="connsiteY71" fmla="*/ 4762859 h 4998171"/>
                <a:gd name="connsiteX72" fmla="*/ 3662511 w 4570627"/>
                <a:gd name="connsiteY72" fmla="*/ 4684421 h 4998171"/>
                <a:gd name="connsiteX73" fmla="*/ 3615449 w 4570627"/>
                <a:gd name="connsiteY73" fmla="*/ 4605984 h 4998171"/>
                <a:gd name="connsiteX74" fmla="*/ 3615449 w 4570627"/>
                <a:gd name="connsiteY74" fmla="*/ 4464797 h 4998171"/>
                <a:gd name="connsiteX75" fmla="*/ 3458574 w 4570627"/>
                <a:gd name="connsiteY75" fmla="*/ 4402047 h 4998171"/>
                <a:gd name="connsiteX76" fmla="*/ 3395824 w 4570627"/>
                <a:gd name="connsiteY76" fmla="*/ 4527547 h 4998171"/>
                <a:gd name="connsiteX77" fmla="*/ 3160513 w 4570627"/>
                <a:gd name="connsiteY77" fmla="*/ 4449109 h 4998171"/>
                <a:gd name="connsiteX78" fmla="*/ 3144825 w 4570627"/>
                <a:gd name="connsiteY78" fmla="*/ 4386359 h 4998171"/>
                <a:gd name="connsiteX79" fmla="*/ 2940888 w 4570627"/>
                <a:gd name="connsiteY79" fmla="*/ 4464797 h 4998171"/>
                <a:gd name="connsiteX80" fmla="*/ 2831076 w 4570627"/>
                <a:gd name="connsiteY80" fmla="*/ 4574609 h 4998171"/>
                <a:gd name="connsiteX81" fmla="*/ 2564389 w 4570627"/>
                <a:gd name="connsiteY81" fmla="*/ 4605984 h 4998171"/>
                <a:gd name="connsiteX82" fmla="*/ 2329077 w 4570627"/>
                <a:gd name="connsiteY82" fmla="*/ 4621672 h 4998171"/>
                <a:gd name="connsiteX83" fmla="*/ 2125140 w 4570627"/>
                <a:gd name="connsiteY83" fmla="*/ 4809921 h 4998171"/>
                <a:gd name="connsiteX84" fmla="*/ 1936891 w 4570627"/>
                <a:gd name="connsiteY84" fmla="*/ 4856984 h 4998171"/>
                <a:gd name="connsiteX85" fmla="*/ 1717266 w 4570627"/>
                <a:gd name="connsiteY85" fmla="*/ 4747171 h 4998171"/>
                <a:gd name="connsiteX86" fmla="*/ 1701579 w 4570627"/>
                <a:gd name="connsiteY86" fmla="*/ 4621672 h 4998171"/>
                <a:gd name="connsiteX87" fmla="*/ 1576079 w 4570627"/>
                <a:gd name="connsiteY87" fmla="*/ 4574609 h 4998171"/>
                <a:gd name="connsiteX88" fmla="*/ 1419205 w 4570627"/>
                <a:gd name="connsiteY88" fmla="*/ 4574609 h 4998171"/>
                <a:gd name="connsiteX89" fmla="*/ 1340768 w 4570627"/>
                <a:gd name="connsiteY89" fmla="*/ 4668734 h 4998171"/>
                <a:gd name="connsiteX90" fmla="*/ 1309393 w 4570627"/>
                <a:gd name="connsiteY90" fmla="*/ 4825609 h 4998171"/>
                <a:gd name="connsiteX91" fmla="*/ 1246643 w 4570627"/>
                <a:gd name="connsiteY91" fmla="*/ 4919734 h 4998171"/>
                <a:gd name="connsiteX92" fmla="*/ 1152518 w 4570627"/>
                <a:gd name="connsiteY92" fmla="*/ 4998171 h 4998171"/>
                <a:gd name="connsiteX93" fmla="*/ 964268 w 4570627"/>
                <a:gd name="connsiteY93" fmla="*/ 4951109 h 4998171"/>
                <a:gd name="connsiteX94" fmla="*/ 948581 w 4570627"/>
                <a:gd name="connsiteY94" fmla="*/ 4684421 h 4998171"/>
                <a:gd name="connsiteX95" fmla="*/ 807394 w 4570627"/>
                <a:gd name="connsiteY95" fmla="*/ 4590297 h 4998171"/>
                <a:gd name="connsiteX96" fmla="*/ 773692 w 4570627"/>
                <a:gd name="connsiteY96" fmla="*/ 4590297 h 4998171"/>
                <a:gd name="connsiteX97" fmla="*/ 802640 w 4570627"/>
                <a:gd name="connsiteY97" fmla="*/ 4538979 h 4998171"/>
                <a:gd name="connsiteX98" fmla="*/ 894080 w 4570627"/>
                <a:gd name="connsiteY98" fmla="*/ 4439919 h 4998171"/>
                <a:gd name="connsiteX99" fmla="*/ 1122680 w 4570627"/>
                <a:gd name="connsiteY99" fmla="*/ 4470399 h 4998171"/>
                <a:gd name="connsiteX100" fmla="*/ 1168400 w 4570627"/>
                <a:gd name="connsiteY100" fmla="*/ 4401819 h 4998171"/>
                <a:gd name="connsiteX101" fmla="*/ 1122680 w 4570627"/>
                <a:gd name="connsiteY101" fmla="*/ 4272279 h 4998171"/>
                <a:gd name="connsiteX102" fmla="*/ 1160780 w 4570627"/>
                <a:gd name="connsiteY102" fmla="*/ 4218939 h 4998171"/>
                <a:gd name="connsiteX103" fmla="*/ 1130300 w 4570627"/>
                <a:gd name="connsiteY103" fmla="*/ 4127499 h 4998171"/>
                <a:gd name="connsiteX104" fmla="*/ 1160780 w 4570627"/>
                <a:gd name="connsiteY104" fmla="*/ 3807459 h 4998171"/>
                <a:gd name="connsiteX105" fmla="*/ 1038860 w 4570627"/>
                <a:gd name="connsiteY105" fmla="*/ 3395979 h 4998171"/>
                <a:gd name="connsiteX106" fmla="*/ 1130300 w 4570627"/>
                <a:gd name="connsiteY106" fmla="*/ 3235959 h 4998171"/>
                <a:gd name="connsiteX107" fmla="*/ 1183640 w 4570627"/>
                <a:gd name="connsiteY107" fmla="*/ 3274059 h 4998171"/>
                <a:gd name="connsiteX108" fmla="*/ 1336040 w 4570627"/>
                <a:gd name="connsiteY108" fmla="*/ 3174999 h 4998171"/>
                <a:gd name="connsiteX109" fmla="*/ 1351280 w 4570627"/>
                <a:gd name="connsiteY109" fmla="*/ 3045459 h 4998171"/>
                <a:gd name="connsiteX110" fmla="*/ 1290320 w 4570627"/>
                <a:gd name="connsiteY110" fmla="*/ 2969259 h 4998171"/>
                <a:gd name="connsiteX111" fmla="*/ 1290320 w 4570627"/>
                <a:gd name="connsiteY111" fmla="*/ 2923539 h 4998171"/>
                <a:gd name="connsiteX112" fmla="*/ 1366520 w 4570627"/>
                <a:gd name="connsiteY112" fmla="*/ 2923539 h 4998171"/>
                <a:gd name="connsiteX113" fmla="*/ 1389380 w 4570627"/>
                <a:gd name="connsiteY113" fmla="*/ 2969259 h 4998171"/>
                <a:gd name="connsiteX114" fmla="*/ 1518920 w 4570627"/>
                <a:gd name="connsiteY114" fmla="*/ 2938779 h 4998171"/>
                <a:gd name="connsiteX115" fmla="*/ 1503680 w 4570627"/>
                <a:gd name="connsiteY115" fmla="*/ 2847339 h 4998171"/>
                <a:gd name="connsiteX116" fmla="*/ 1450340 w 4570627"/>
                <a:gd name="connsiteY116" fmla="*/ 2786379 h 4998171"/>
                <a:gd name="connsiteX117" fmla="*/ 1488440 w 4570627"/>
                <a:gd name="connsiteY117" fmla="*/ 2573019 h 4998171"/>
                <a:gd name="connsiteX118" fmla="*/ 1389380 w 4570627"/>
                <a:gd name="connsiteY118" fmla="*/ 2420619 h 4998171"/>
                <a:gd name="connsiteX119" fmla="*/ 1297940 w 4570627"/>
                <a:gd name="connsiteY119" fmla="*/ 2405379 h 4998171"/>
                <a:gd name="connsiteX120" fmla="*/ 1244600 w 4570627"/>
                <a:gd name="connsiteY120" fmla="*/ 2306319 h 4998171"/>
                <a:gd name="connsiteX121" fmla="*/ 1282700 w 4570627"/>
                <a:gd name="connsiteY121" fmla="*/ 2252979 h 4998171"/>
                <a:gd name="connsiteX122" fmla="*/ 1183640 w 4570627"/>
                <a:gd name="connsiteY122" fmla="*/ 2146299 h 4998171"/>
                <a:gd name="connsiteX123" fmla="*/ 1168400 w 4570627"/>
                <a:gd name="connsiteY123" fmla="*/ 2047239 h 4998171"/>
                <a:gd name="connsiteX124" fmla="*/ 1183640 w 4570627"/>
                <a:gd name="connsiteY124" fmla="*/ 2016759 h 4998171"/>
                <a:gd name="connsiteX125" fmla="*/ 1153160 w 4570627"/>
                <a:gd name="connsiteY125" fmla="*/ 1887219 h 4998171"/>
                <a:gd name="connsiteX126" fmla="*/ 1176020 w 4570627"/>
                <a:gd name="connsiteY126" fmla="*/ 1871979 h 4998171"/>
                <a:gd name="connsiteX127" fmla="*/ 1145540 w 4570627"/>
                <a:gd name="connsiteY127" fmla="*/ 1658619 h 4998171"/>
                <a:gd name="connsiteX128" fmla="*/ 1099820 w 4570627"/>
                <a:gd name="connsiteY128" fmla="*/ 1620519 h 4998171"/>
                <a:gd name="connsiteX129" fmla="*/ 1076960 w 4570627"/>
                <a:gd name="connsiteY129" fmla="*/ 1643379 h 4998171"/>
                <a:gd name="connsiteX130" fmla="*/ 1069340 w 4570627"/>
                <a:gd name="connsiteY130" fmla="*/ 1711959 h 4998171"/>
                <a:gd name="connsiteX131" fmla="*/ 970280 w 4570627"/>
                <a:gd name="connsiteY131" fmla="*/ 1719579 h 4998171"/>
                <a:gd name="connsiteX132" fmla="*/ 932180 w 4570627"/>
                <a:gd name="connsiteY132" fmla="*/ 1574799 h 4998171"/>
                <a:gd name="connsiteX133" fmla="*/ 871220 w 4570627"/>
                <a:gd name="connsiteY133" fmla="*/ 1620519 h 4998171"/>
                <a:gd name="connsiteX134" fmla="*/ 855980 w 4570627"/>
                <a:gd name="connsiteY134" fmla="*/ 1574799 h 4998171"/>
                <a:gd name="connsiteX135" fmla="*/ 924560 w 4570627"/>
                <a:gd name="connsiteY135" fmla="*/ 1513839 h 4998171"/>
                <a:gd name="connsiteX136" fmla="*/ 855980 w 4570627"/>
                <a:gd name="connsiteY136" fmla="*/ 1384299 h 4998171"/>
                <a:gd name="connsiteX137" fmla="*/ 825500 w 4570627"/>
                <a:gd name="connsiteY137" fmla="*/ 1330959 h 4998171"/>
                <a:gd name="connsiteX138" fmla="*/ 787400 w 4570627"/>
                <a:gd name="connsiteY138" fmla="*/ 1430019 h 4998171"/>
                <a:gd name="connsiteX139" fmla="*/ 772160 w 4570627"/>
                <a:gd name="connsiteY139" fmla="*/ 1369059 h 4998171"/>
                <a:gd name="connsiteX140" fmla="*/ 688340 w 4570627"/>
                <a:gd name="connsiteY140" fmla="*/ 1422399 h 4998171"/>
                <a:gd name="connsiteX141" fmla="*/ 695960 w 4570627"/>
                <a:gd name="connsiteY141" fmla="*/ 1277619 h 4998171"/>
                <a:gd name="connsiteX142" fmla="*/ 497840 w 4570627"/>
                <a:gd name="connsiteY142" fmla="*/ 1262379 h 4998171"/>
                <a:gd name="connsiteX143" fmla="*/ 353060 w 4570627"/>
                <a:gd name="connsiteY143" fmla="*/ 1315719 h 4998171"/>
                <a:gd name="connsiteX144" fmla="*/ 467360 w 4570627"/>
                <a:gd name="connsiteY144" fmla="*/ 1376679 h 4998171"/>
                <a:gd name="connsiteX145" fmla="*/ 474980 w 4570627"/>
                <a:gd name="connsiteY145" fmla="*/ 1452879 h 4998171"/>
                <a:gd name="connsiteX146" fmla="*/ 391160 w 4570627"/>
                <a:gd name="connsiteY146" fmla="*/ 1452879 h 4998171"/>
                <a:gd name="connsiteX147" fmla="*/ 360680 w 4570627"/>
                <a:gd name="connsiteY147" fmla="*/ 1551939 h 4998171"/>
                <a:gd name="connsiteX148" fmla="*/ 132080 w 4570627"/>
                <a:gd name="connsiteY148" fmla="*/ 1567179 h 4998171"/>
                <a:gd name="connsiteX149" fmla="*/ 69850 w 4570627"/>
                <a:gd name="connsiteY149" fmla="*/ 1533990 h 4998171"/>
                <a:gd name="connsiteX150" fmla="*/ 69850 w 4570627"/>
                <a:gd name="connsiteY150" fmla="*/ 1435099 h 4998171"/>
                <a:gd name="connsiteX151" fmla="*/ 146050 w 4570627"/>
                <a:gd name="connsiteY151" fmla="*/ 1295399 h 4998171"/>
                <a:gd name="connsiteX152" fmla="*/ 82550 w 4570627"/>
                <a:gd name="connsiteY152" fmla="*/ 1193799 h 4998171"/>
                <a:gd name="connsiteX153" fmla="*/ 25400 w 4570627"/>
                <a:gd name="connsiteY153" fmla="*/ 1168399 h 4998171"/>
                <a:gd name="connsiteX154" fmla="*/ 31750 w 4570627"/>
                <a:gd name="connsiteY154" fmla="*/ 952499 h 4998171"/>
                <a:gd name="connsiteX155" fmla="*/ 0 w 4570627"/>
                <a:gd name="connsiteY155" fmla="*/ 876299 h 4998171"/>
                <a:gd name="connsiteX156" fmla="*/ 0 w 4570627"/>
                <a:gd name="connsiteY156" fmla="*/ 774699 h 4998171"/>
                <a:gd name="connsiteX157" fmla="*/ 107950 w 4570627"/>
                <a:gd name="connsiteY157" fmla="*/ 755649 h 4998171"/>
                <a:gd name="connsiteX158" fmla="*/ 127000 w 4570627"/>
                <a:gd name="connsiteY158" fmla="*/ 806449 h 4998171"/>
                <a:gd name="connsiteX159" fmla="*/ 215900 w 4570627"/>
                <a:gd name="connsiteY159" fmla="*/ 749299 h 4998171"/>
                <a:gd name="connsiteX160" fmla="*/ 368300 w 4570627"/>
                <a:gd name="connsiteY160" fmla="*/ 749299 h 4998171"/>
                <a:gd name="connsiteX161" fmla="*/ 368300 w 4570627"/>
                <a:gd name="connsiteY161" fmla="*/ 800099 h 4998171"/>
                <a:gd name="connsiteX162" fmla="*/ 495300 w 4570627"/>
                <a:gd name="connsiteY162" fmla="*/ 800099 h 4998171"/>
                <a:gd name="connsiteX163" fmla="*/ 488950 w 4570627"/>
                <a:gd name="connsiteY163" fmla="*/ 711199 h 4998171"/>
                <a:gd name="connsiteX164" fmla="*/ 488950 w 4570627"/>
                <a:gd name="connsiteY164" fmla="*/ 603249 h 4998171"/>
                <a:gd name="connsiteX165" fmla="*/ 596900 w 4570627"/>
                <a:gd name="connsiteY165" fmla="*/ 615949 h 4998171"/>
                <a:gd name="connsiteX166" fmla="*/ 679450 w 4570627"/>
                <a:gd name="connsiteY166" fmla="*/ 514349 h 4998171"/>
                <a:gd name="connsiteX167" fmla="*/ 717550 w 4570627"/>
                <a:gd name="connsiteY167" fmla="*/ 311149 h 4998171"/>
                <a:gd name="connsiteX168" fmla="*/ 812800 w 4570627"/>
                <a:gd name="connsiteY168" fmla="*/ 361949 h 4998171"/>
                <a:gd name="connsiteX169" fmla="*/ 952500 w 4570627"/>
                <a:gd name="connsiteY169" fmla="*/ 266699 h 4998171"/>
                <a:gd name="connsiteX170" fmla="*/ 979517 w 4570627"/>
                <a:gd name="connsiteY170" fmla="*/ 226176 h 4998171"/>
                <a:gd name="connsiteX171" fmla="*/ 977900 w 4570627"/>
                <a:gd name="connsiteY171" fmla="*/ 273049 h 4998171"/>
                <a:gd name="connsiteX172" fmla="*/ 1060450 w 4570627"/>
                <a:gd name="connsiteY172" fmla="*/ 177799 h 4998171"/>
                <a:gd name="connsiteX173" fmla="*/ 920750 w 4570627"/>
                <a:gd name="connsiteY173" fmla="*/ 57150 h 4998171"/>
                <a:gd name="connsiteX174" fmla="*/ 869950 w 4570627"/>
                <a:gd name="connsiteY174" fmla="*/ 69849 h 4998171"/>
                <a:gd name="connsiteX175" fmla="*/ 920750 w 4570627"/>
                <a:gd name="connsiteY175" fmla="*/ 57149 h 4998171"/>
                <a:gd name="connsiteX176" fmla="*/ 920750 w 4570627"/>
                <a:gd name="connsiteY176" fmla="*/ 57150 h 4998171"/>
                <a:gd name="connsiteX177" fmla="*/ 984250 w 4570627"/>
                <a:gd name="connsiteY177" fmla="*/ 0 h 4998171"/>
                <a:gd name="connsiteX178" fmla="*/ 1022350 w 4570627"/>
                <a:gd name="connsiteY178" fmla="*/ 50799 h 4998171"/>
                <a:gd name="connsiteX179" fmla="*/ 1022350 w 4570627"/>
                <a:gd name="connsiteY179" fmla="*/ 50800 h 4998171"/>
                <a:gd name="connsiteX180" fmla="*/ 984250 w 4570627"/>
                <a:gd name="connsiteY180" fmla="*/ 0 h 4998171"/>
                <a:gd name="connsiteX0" fmla="*/ 555179 w 4570627"/>
                <a:gd name="connsiteY0" fmla="*/ 4618435 h 4947372"/>
                <a:gd name="connsiteX1" fmla="*/ 555179 w 4570627"/>
                <a:gd name="connsiteY1" fmla="*/ 4618435 h 4947372"/>
                <a:gd name="connsiteX2" fmla="*/ 546724 w 4570627"/>
                <a:gd name="connsiteY2" fmla="*/ 4643035 h 4947372"/>
                <a:gd name="connsiteX3" fmla="*/ 546723 w 4570627"/>
                <a:gd name="connsiteY3" fmla="*/ 4643035 h 4947372"/>
                <a:gd name="connsiteX4" fmla="*/ 555179 w 4570627"/>
                <a:gd name="connsiteY4" fmla="*/ 4618435 h 4947372"/>
                <a:gd name="connsiteX5" fmla="*/ 1060450 w 4570627"/>
                <a:gd name="connsiteY5" fmla="*/ 127000 h 4947372"/>
                <a:gd name="connsiteX6" fmla="*/ 1149350 w 4570627"/>
                <a:gd name="connsiteY6" fmla="*/ 165100 h 4947372"/>
                <a:gd name="connsiteX7" fmla="*/ 1263650 w 4570627"/>
                <a:gd name="connsiteY7" fmla="*/ 241300 h 4947372"/>
                <a:gd name="connsiteX8" fmla="*/ 1320800 w 4570627"/>
                <a:gd name="connsiteY8" fmla="*/ 361950 h 4947372"/>
                <a:gd name="connsiteX9" fmla="*/ 1371600 w 4570627"/>
                <a:gd name="connsiteY9" fmla="*/ 342900 h 4947372"/>
                <a:gd name="connsiteX10" fmla="*/ 1479550 w 4570627"/>
                <a:gd name="connsiteY10" fmla="*/ 450850 h 4947372"/>
                <a:gd name="connsiteX11" fmla="*/ 1530350 w 4570627"/>
                <a:gd name="connsiteY11" fmla="*/ 615950 h 4947372"/>
                <a:gd name="connsiteX12" fmla="*/ 1612900 w 4570627"/>
                <a:gd name="connsiteY12" fmla="*/ 660400 h 4947372"/>
                <a:gd name="connsiteX13" fmla="*/ 1638300 w 4570627"/>
                <a:gd name="connsiteY13" fmla="*/ 590550 h 4947372"/>
                <a:gd name="connsiteX14" fmla="*/ 1739900 w 4570627"/>
                <a:gd name="connsiteY14" fmla="*/ 596900 h 4947372"/>
                <a:gd name="connsiteX15" fmla="*/ 1746250 w 4570627"/>
                <a:gd name="connsiteY15" fmla="*/ 546100 h 4947372"/>
                <a:gd name="connsiteX16" fmla="*/ 1689100 w 4570627"/>
                <a:gd name="connsiteY16" fmla="*/ 514350 h 4947372"/>
                <a:gd name="connsiteX17" fmla="*/ 1638300 w 4570627"/>
                <a:gd name="connsiteY17" fmla="*/ 469900 h 4947372"/>
                <a:gd name="connsiteX18" fmla="*/ 1625600 w 4570627"/>
                <a:gd name="connsiteY18" fmla="*/ 419100 h 4947372"/>
                <a:gd name="connsiteX19" fmla="*/ 1778000 w 4570627"/>
                <a:gd name="connsiteY19" fmla="*/ 361950 h 4947372"/>
                <a:gd name="connsiteX20" fmla="*/ 1879600 w 4570627"/>
                <a:gd name="connsiteY20" fmla="*/ 374650 h 4947372"/>
                <a:gd name="connsiteX21" fmla="*/ 1873250 w 4570627"/>
                <a:gd name="connsiteY21" fmla="*/ 438150 h 4947372"/>
                <a:gd name="connsiteX22" fmla="*/ 1981200 w 4570627"/>
                <a:gd name="connsiteY22" fmla="*/ 431800 h 4947372"/>
                <a:gd name="connsiteX23" fmla="*/ 2006600 w 4570627"/>
                <a:gd name="connsiteY23" fmla="*/ 431800 h 4947372"/>
                <a:gd name="connsiteX24" fmla="*/ 2032000 w 4570627"/>
                <a:gd name="connsiteY24" fmla="*/ 533400 h 4947372"/>
                <a:gd name="connsiteX25" fmla="*/ 2133600 w 4570627"/>
                <a:gd name="connsiteY25" fmla="*/ 546100 h 4947372"/>
                <a:gd name="connsiteX26" fmla="*/ 2171700 w 4570627"/>
                <a:gd name="connsiteY26" fmla="*/ 412750 h 4947372"/>
                <a:gd name="connsiteX27" fmla="*/ 2146300 w 4570627"/>
                <a:gd name="connsiteY27" fmla="*/ 273050 h 4947372"/>
                <a:gd name="connsiteX28" fmla="*/ 2216150 w 4570627"/>
                <a:gd name="connsiteY28" fmla="*/ 190500 h 4947372"/>
                <a:gd name="connsiteX29" fmla="*/ 2279650 w 4570627"/>
                <a:gd name="connsiteY29" fmla="*/ 184150 h 4947372"/>
                <a:gd name="connsiteX30" fmla="*/ 2305050 w 4570627"/>
                <a:gd name="connsiteY30" fmla="*/ 279400 h 4947372"/>
                <a:gd name="connsiteX31" fmla="*/ 2374900 w 4570627"/>
                <a:gd name="connsiteY31" fmla="*/ 342900 h 4947372"/>
                <a:gd name="connsiteX32" fmla="*/ 2381250 w 4570627"/>
                <a:gd name="connsiteY32" fmla="*/ 406400 h 4947372"/>
                <a:gd name="connsiteX33" fmla="*/ 2514600 w 4570627"/>
                <a:gd name="connsiteY33" fmla="*/ 355600 h 4947372"/>
                <a:gd name="connsiteX34" fmla="*/ 2641600 w 4570627"/>
                <a:gd name="connsiteY34" fmla="*/ 330200 h 4947372"/>
                <a:gd name="connsiteX35" fmla="*/ 2686050 w 4570627"/>
                <a:gd name="connsiteY35" fmla="*/ 368300 h 4947372"/>
                <a:gd name="connsiteX36" fmla="*/ 2774950 w 4570627"/>
                <a:gd name="connsiteY36" fmla="*/ 317500 h 4947372"/>
                <a:gd name="connsiteX37" fmla="*/ 2796953 w 4570627"/>
                <a:gd name="connsiteY37" fmla="*/ 319596 h 4947372"/>
                <a:gd name="connsiteX38" fmla="*/ 2787650 w 4570627"/>
                <a:gd name="connsiteY38" fmla="*/ 298452 h 4947372"/>
                <a:gd name="connsiteX39" fmla="*/ 2857500 w 4570627"/>
                <a:gd name="connsiteY39" fmla="*/ 457201 h 4947372"/>
                <a:gd name="connsiteX40" fmla="*/ 2971800 w 4570627"/>
                <a:gd name="connsiteY40" fmla="*/ 482601 h 4947372"/>
                <a:gd name="connsiteX41" fmla="*/ 3054350 w 4570627"/>
                <a:gd name="connsiteY41" fmla="*/ 501651 h 4947372"/>
                <a:gd name="connsiteX42" fmla="*/ 3093057 w 4570627"/>
                <a:gd name="connsiteY42" fmla="*/ 656481 h 4947372"/>
                <a:gd name="connsiteX43" fmla="*/ 3011086 w 4570627"/>
                <a:gd name="connsiteY43" fmla="*/ 537623 h 4947372"/>
                <a:gd name="connsiteX44" fmla="*/ 2924805 w 4570627"/>
                <a:gd name="connsiteY44" fmla="*/ 623904 h 4947372"/>
                <a:gd name="connsiteX45" fmla="*/ 3026774 w 4570627"/>
                <a:gd name="connsiteY45" fmla="*/ 733716 h 4947372"/>
                <a:gd name="connsiteX46" fmla="*/ 3050305 w 4570627"/>
                <a:gd name="connsiteY46" fmla="*/ 906278 h 4947372"/>
                <a:gd name="connsiteX47" fmla="*/ 3348367 w 4570627"/>
                <a:gd name="connsiteY47" fmla="*/ 1078841 h 4947372"/>
                <a:gd name="connsiteX48" fmla="*/ 3411117 w 4570627"/>
                <a:gd name="connsiteY48" fmla="*/ 1188653 h 4947372"/>
                <a:gd name="connsiteX49" fmla="*/ 3262086 w 4570627"/>
                <a:gd name="connsiteY49" fmla="*/ 1369059 h 4947372"/>
                <a:gd name="connsiteX50" fmla="*/ 3395429 w 4570627"/>
                <a:gd name="connsiteY50" fmla="*/ 1612215 h 4947372"/>
                <a:gd name="connsiteX51" fmla="*/ 3489554 w 4570627"/>
                <a:gd name="connsiteY51" fmla="*/ 1894589 h 4947372"/>
                <a:gd name="connsiteX52" fmla="*/ 3638585 w 4570627"/>
                <a:gd name="connsiteY52" fmla="*/ 2059308 h 4947372"/>
                <a:gd name="connsiteX53" fmla="*/ 3756241 w 4570627"/>
                <a:gd name="connsiteY53" fmla="*/ 1965183 h 4947372"/>
                <a:gd name="connsiteX54" fmla="*/ 3905271 w 4570627"/>
                <a:gd name="connsiteY54" fmla="*/ 2208339 h 4947372"/>
                <a:gd name="connsiteX55" fmla="*/ 4007240 w 4570627"/>
                <a:gd name="connsiteY55" fmla="*/ 2325995 h 4947372"/>
                <a:gd name="connsiteX56" fmla="*/ 4124896 w 4570627"/>
                <a:gd name="connsiteY56" fmla="*/ 2325995 h 4947372"/>
                <a:gd name="connsiteX57" fmla="*/ 4328833 w 4570627"/>
                <a:gd name="connsiteY57" fmla="*/ 2608369 h 4947372"/>
                <a:gd name="connsiteX58" fmla="*/ 4446489 w 4570627"/>
                <a:gd name="connsiteY58" fmla="*/ 2592682 h 4947372"/>
                <a:gd name="connsiteX59" fmla="*/ 4564145 w 4570627"/>
                <a:gd name="connsiteY59" fmla="*/ 2718182 h 4947372"/>
                <a:gd name="connsiteX60" fmla="*/ 4570627 w 4570627"/>
                <a:gd name="connsiteY60" fmla="*/ 2728182 h 4947372"/>
                <a:gd name="connsiteX61" fmla="*/ 4493946 w 4570627"/>
                <a:gd name="connsiteY61" fmla="*/ 3096250 h 4947372"/>
                <a:gd name="connsiteX62" fmla="*/ 4274322 w 4570627"/>
                <a:gd name="connsiteY62" fmla="*/ 3111937 h 4947372"/>
                <a:gd name="connsiteX63" fmla="*/ 4180197 w 4570627"/>
                <a:gd name="connsiteY63" fmla="*/ 3441374 h 4947372"/>
                <a:gd name="connsiteX64" fmla="*/ 3819386 w 4570627"/>
                <a:gd name="connsiteY64" fmla="*/ 3566874 h 4947372"/>
                <a:gd name="connsiteX65" fmla="*/ 3552699 w 4570627"/>
                <a:gd name="connsiteY65" fmla="*/ 3723749 h 4947372"/>
                <a:gd name="connsiteX66" fmla="*/ 3552699 w 4570627"/>
                <a:gd name="connsiteY66" fmla="*/ 3833561 h 4947372"/>
                <a:gd name="connsiteX67" fmla="*/ 3788011 w 4570627"/>
                <a:gd name="connsiteY67" fmla="*/ 4037498 h 4947372"/>
                <a:gd name="connsiteX68" fmla="*/ 3772323 w 4570627"/>
                <a:gd name="connsiteY68" fmla="*/ 4257123 h 4947372"/>
                <a:gd name="connsiteX69" fmla="*/ 3866448 w 4570627"/>
                <a:gd name="connsiteY69" fmla="*/ 4366935 h 4947372"/>
                <a:gd name="connsiteX70" fmla="*/ 3897823 w 4570627"/>
                <a:gd name="connsiteY70" fmla="*/ 4602248 h 4947372"/>
                <a:gd name="connsiteX71" fmla="*/ 3819386 w 4570627"/>
                <a:gd name="connsiteY71" fmla="*/ 4712060 h 4947372"/>
                <a:gd name="connsiteX72" fmla="*/ 3662511 w 4570627"/>
                <a:gd name="connsiteY72" fmla="*/ 4633622 h 4947372"/>
                <a:gd name="connsiteX73" fmla="*/ 3615449 w 4570627"/>
                <a:gd name="connsiteY73" fmla="*/ 4555185 h 4947372"/>
                <a:gd name="connsiteX74" fmla="*/ 3615449 w 4570627"/>
                <a:gd name="connsiteY74" fmla="*/ 4413998 h 4947372"/>
                <a:gd name="connsiteX75" fmla="*/ 3458574 w 4570627"/>
                <a:gd name="connsiteY75" fmla="*/ 4351248 h 4947372"/>
                <a:gd name="connsiteX76" fmla="*/ 3395824 w 4570627"/>
                <a:gd name="connsiteY76" fmla="*/ 4476748 h 4947372"/>
                <a:gd name="connsiteX77" fmla="*/ 3160513 w 4570627"/>
                <a:gd name="connsiteY77" fmla="*/ 4398310 h 4947372"/>
                <a:gd name="connsiteX78" fmla="*/ 3144825 w 4570627"/>
                <a:gd name="connsiteY78" fmla="*/ 4335560 h 4947372"/>
                <a:gd name="connsiteX79" fmla="*/ 2940888 w 4570627"/>
                <a:gd name="connsiteY79" fmla="*/ 4413998 h 4947372"/>
                <a:gd name="connsiteX80" fmla="*/ 2831076 w 4570627"/>
                <a:gd name="connsiteY80" fmla="*/ 4523810 h 4947372"/>
                <a:gd name="connsiteX81" fmla="*/ 2564389 w 4570627"/>
                <a:gd name="connsiteY81" fmla="*/ 4555185 h 4947372"/>
                <a:gd name="connsiteX82" fmla="*/ 2329077 w 4570627"/>
                <a:gd name="connsiteY82" fmla="*/ 4570873 h 4947372"/>
                <a:gd name="connsiteX83" fmla="*/ 2125140 w 4570627"/>
                <a:gd name="connsiteY83" fmla="*/ 4759122 h 4947372"/>
                <a:gd name="connsiteX84" fmla="*/ 1936891 w 4570627"/>
                <a:gd name="connsiteY84" fmla="*/ 4806185 h 4947372"/>
                <a:gd name="connsiteX85" fmla="*/ 1717266 w 4570627"/>
                <a:gd name="connsiteY85" fmla="*/ 4696372 h 4947372"/>
                <a:gd name="connsiteX86" fmla="*/ 1701579 w 4570627"/>
                <a:gd name="connsiteY86" fmla="*/ 4570873 h 4947372"/>
                <a:gd name="connsiteX87" fmla="*/ 1576079 w 4570627"/>
                <a:gd name="connsiteY87" fmla="*/ 4523810 h 4947372"/>
                <a:gd name="connsiteX88" fmla="*/ 1419205 w 4570627"/>
                <a:gd name="connsiteY88" fmla="*/ 4523810 h 4947372"/>
                <a:gd name="connsiteX89" fmla="*/ 1340768 w 4570627"/>
                <a:gd name="connsiteY89" fmla="*/ 4617935 h 4947372"/>
                <a:gd name="connsiteX90" fmla="*/ 1309393 w 4570627"/>
                <a:gd name="connsiteY90" fmla="*/ 4774810 h 4947372"/>
                <a:gd name="connsiteX91" fmla="*/ 1246643 w 4570627"/>
                <a:gd name="connsiteY91" fmla="*/ 4868935 h 4947372"/>
                <a:gd name="connsiteX92" fmla="*/ 1152518 w 4570627"/>
                <a:gd name="connsiteY92" fmla="*/ 4947372 h 4947372"/>
                <a:gd name="connsiteX93" fmla="*/ 964268 w 4570627"/>
                <a:gd name="connsiteY93" fmla="*/ 4900310 h 4947372"/>
                <a:gd name="connsiteX94" fmla="*/ 948581 w 4570627"/>
                <a:gd name="connsiteY94" fmla="*/ 4633622 h 4947372"/>
                <a:gd name="connsiteX95" fmla="*/ 807394 w 4570627"/>
                <a:gd name="connsiteY95" fmla="*/ 4539498 h 4947372"/>
                <a:gd name="connsiteX96" fmla="*/ 773692 w 4570627"/>
                <a:gd name="connsiteY96" fmla="*/ 4539498 h 4947372"/>
                <a:gd name="connsiteX97" fmla="*/ 802640 w 4570627"/>
                <a:gd name="connsiteY97" fmla="*/ 4488180 h 4947372"/>
                <a:gd name="connsiteX98" fmla="*/ 894080 w 4570627"/>
                <a:gd name="connsiteY98" fmla="*/ 4389120 h 4947372"/>
                <a:gd name="connsiteX99" fmla="*/ 1122680 w 4570627"/>
                <a:gd name="connsiteY99" fmla="*/ 4419600 h 4947372"/>
                <a:gd name="connsiteX100" fmla="*/ 1168400 w 4570627"/>
                <a:gd name="connsiteY100" fmla="*/ 4351020 h 4947372"/>
                <a:gd name="connsiteX101" fmla="*/ 1122680 w 4570627"/>
                <a:gd name="connsiteY101" fmla="*/ 4221480 h 4947372"/>
                <a:gd name="connsiteX102" fmla="*/ 1160780 w 4570627"/>
                <a:gd name="connsiteY102" fmla="*/ 4168140 h 4947372"/>
                <a:gd name="connsiteX103" fmla="*/ 1130300 w 4570627"/>
                <a:gd name="connsiteY103" fmla="*/ 4076700 h 4947372"/>
                <a:gd name="connsiteX104" fmla="*/ 1160780 w 4570627"/>
                <a:gd name="connsiteY104" fmla="*/ 3756660 h 4947372"/>
                <a:gd name="connsiteX105" fmla="*/ 1038860 w 4570627"/>
                <a:gd name="connsiteY105" fmla="*/ 3345180 h 4947372"/>
                <a:gd name="connsiteX106" fmla="*/ 1130300 w 4570627"/>
                <a:gd name="connsiteY106" fmla="*/ 3185160 h 4947372"/>
                <a:gd name="connsiteX107" fmla="*/ 1183640 w 4570627"/>
                <a:gd name="connsiteY107" fmla="*/ 3223260 h 4947372"/>
                <a:gd name="connsiteX108" fmla="*/ 1336040 w 4570627"/>
                <a:gd name="connsiteY108" fmla="*/ 3124200 h 4947372"/>
                <a:gd name="connsiteX109" fmla="*/ 1351280 w 4570627"/>
                <a:gd name="connsiteY109" fmla="*/ 2994660 h 4947372"/>
                <a:gd name="connsiteX110" fmla="*/ 1290320 w 4570627"/>
                <a:gd name="connsiteY110" fmla="*/ 2918460 h 4947372"/>
                <a:gd name="connsiteX111" fmla="*/ 1290320 w 4570627"/>
                <a:gd name="connsiteY111" fmla="*/ 2872740 h 4947372"/>
                <a:gd name="connsiteX112" fmla="*/ 1366520 w 4570627"/>
                <a:gd name="connsiteY112" fmla="*/ 2872740 h 4947372"/>
                <a:gd name="connsiteX113" fmla="*/ 1389380 w 4570627"/>
                <a:gd name="connsiteY113" fmla="*/ 2918460 h 4947372"/>
                <a:gd name="connsiteX114" fmla="*/ 1518920 w 4570627"/>
                <a:gd name="connsiteY114" fmla="*/ 2887980 h 4947372"/>
                <a:gd name="connsiteX115" fmla="*/ 1503680 w 4570627"/>
                <a:gd name="connsiteY115" fmla="*/ 2796540 h 4947372"/>
                <a:gd name="connsiteX116" fmla="*/ 1450340 w 4570627"/>
                <a:gd name="connsiteY116" fmla="*/ 2735580 h 4947372"/>
                <a:gd name="connsiteX117" fmla="*/ 1488440 w 4570627"/>
                <a:gd name="connsiteY117" fmla="*/ 2522220 h 4947372"/>
                <a:gd name="connsiteX118" fmla="*/ 1389380 w 4570627"/>
                <a:gd name="connsiteY118" fmla="*/ 2369820 h 4947372"/>
                <a:gd name="connsiteX119" fmla="*/ 1297940 w 4570627"/>
                <a:gd name="connsiteY119" fmla="*/ 2354580 h 4947372"/>
                <a:gd name="connsiteX120" fmla="*/ 1244600 w 4570627"/>
                <a:gd name="connsiteY120" fmla="*/ 2255520 h 4947372"/>
                <a:gd name="connsiteX121" fmla="*/ 1282700 w 4570627"/>
                <a:gd name="connsiteY121" fmla="*/ 2202180 h 4947372"/>
                <a:gd name="connsiteX122" fmla="*/ 1183640 w 4570627"/>
                <a:gd name="connsiteY122" fmla="*/ 2095500 h 4947372"/>
                <a:gd name="connsiteX123" fmla="*/ 1168400 w 4570627"/>
                <a:gd name="connsiteY123" fmla="*/ 1996440 h 4947372"/>
                <a:gd name="connsiteX124" fmla="*/ 1183640 w 4570627"/>
                <a:gd name="connsiteY124" fmla="*/ 1965960 h 4947372"/>
                <a:gd name="connsiteX125" fmla="*/ 1153160 w 4570627"/>
                <a:gd name="connsiteY125" fmla="*/ 1836420 h 4947372"/>
                <a:gd name="connsiteX126" fmla="*/ 1176020 w 4570627"/>
                <a:gd name="connsiteY126" fmla="*/ 1821180 h 4947372"/>
                <a:gd name="connsiteX127" fmla="*/ 1145540 w 4570627"/>
                <a:gd name="connsiteY127" fmla="*/ 1607820 h 4947372"/>
                <a:gd name="connsiteX128" fmla="*/ 1099820 w 4570627"/>
                <a:gd name="connsiteY128" fmla="*/ 1569720 h 4947372"/>
                <a:gd name="connsiteX129" fmla="*/ 1076960 w 4570627"/>
                <a:gd name="connsiteY129" fmla="*/ 1592580 h 4947372"/>
                <a:gd name="connsiteX130" fmla="*/ 1069340 w 4570627"/>
                <a:gd name="connsiteY130" fmla="*/ 1661160 h 4947372"/>
                <a:gd name="connsiteX131" fmla="*/ 970280 w 4570627"/>
                <a:gd name="connsiteY131" fmla="*/ 1668780 h 4947372"/>
                <a:gd name="connsiteX132" fmla="*/ 932180 w 4570627"/>
                <a:gd name="connsiteY132" fmla="*/ 1524000 h 4947372"/>
                <a:gd name="connsiteX133" fmla="*/ 871220 w 4570627"/>
                <a:gd name="connsiteY133" fmla="*/ 1569720 h 4947372"/>
                <a:gd name="connsiteX134" fmla="*/ 855980 w 4570627"/>
                <a:gd name="connsiteY134" fmla="*/ 1524000 h 4947372"/>
                <a:gd name="connsiteX135" fmla="*/ 924560 w 4570627"/>
                <a:gd name="connsiteY135" fmla="*/ 1463040 h 4947372"/>
                <a:gd name="connsiteX136" fmla="*/ 855980 w 4570627"/>
                <a:gd name="connsiteY136" fmla="*/ 1333500 h 4947372"/>
                <a:gd name="connsiteX137" fmla="*/ 825500 w 4570627"/>
                <a:gd name="connsiteY137" fmla="*/ 1280160 h 4947372"/>
                <a:gd name="connsiteX138" fmla="*/ 787400 w 4570627"/>
                <a:gd name="connsiteY138" fmla="*/ 1379220 h 4947372"/>
                <a:gd name="connsiteX139" fmla="*/ 772160 w 4570627"/>
                <a:gd name="connsiteY139" fmla="*/ 1318260 h 4947372"/>
                <a:gd name="connsiteX140" fmla="*/ 688340 w 4570627"/>
                <a:gd name="connsiteY140" fmla="*/ 1371600 h 4947372"/>
                <a:gd name="connsiteX141" fmla="*/ 695960 w 4570627"/>
                <a:gd name="connsiteY141" fmla="*/ 1226820 h 4947372"/>
                <a:gd name="connsiteX142" fmla="*/ 497840 w 4570627"/>
                <a:gd name="connsiteY142" fmla="*/ 1211580 h 4947372"/>
                <a:gd name="connsiteX143" fmla="*/ 353060 w 4570627"/>
                <a:gd name="connsiteY143" fmla="*/ 1264920 h 4947372"/>
                <a:gd name="connsiteX144" fmla="*/ 467360 w 4570627"/>
                <a:gd name="connsiteY144" fmla="*/ 1325880 h 4947372"/>
                <a:gd name="connsiteX145" fmla="*/ 474980 w 4570627"/>
                <a:gd name="connsiteY145" fmla="*/ 1402080 h 4947372"/>
                <a:gd name="connsiteX146" fmla="*/ 391160 w 4570627"/>
                <a:gd name="connsiteY146" fmla="*/ 1402080 h 4947372"/>
                <a:gd name="connsiteX147" fmla="*/ 360680 w 4570627"/>
                <a:gd name="connsiteY147" fmla="*/ 1501140 h 4947372"/>
                <a:gd name="connsiteX148" fmla="*/ 132080 w 4570627"/>
                <a:gd name="connsiteY148" fmla="*/ 1516380 h 4947372"/>
                <a:gd name="connsiteX149" fmla="*/ 69850 w 4570627"/>
                <a:gd name="connsiteY149" fmla="*/ 1483191 h 4947372"/>
                <a:gd name="connsiteX150" fmla="*/ 69850 w 4570627"/>
                <a:gd name="connsiteY150" fmla="*/ 1384300 h 4947372"/>
                <a:gd name="connsiteX151" fmla="*/ 146050 w 4570627"/>
                <a:gd name="connsiteY151" fmla="*/ 1244600 h 4947372"/>
                <a:gd name="connsiteX152" fmla="*/ 82550 w 4570627"/>
                <a:gd name="connsiteY152" fmla="*/ 1143000 h 4947372"/>
                <a:gd name="connsiteX153" fmla="*/ 25400 w 4570627"/>
                <a:gd name="connsiteY153" fmla="*/ 1117600 h 4947372"/>
                <a:gd name="connsiteX154" fmla="*/ 31750 w 4570627"/>
                <a:gd name="connsiteY154" fmla="*/ 901700 h 4947372"/>
                <a:gd name="connsiteX155" fmla="*/ 0 w 4570627"/>
                <a:gd name="connsiteY155" fmla="*/ 825500 h 4947372"/>
                <a:gd name="connsiteX156" fmla="*/ 0 w 4570627"/>
                <a:gd name="connsiteY156" fmla="*/ 723900 h 4947372"/>
                <a:gd name="connsiteX157" fmla="*/ 107950 w 4570627"/>
                <a:gd name="connsiteY157" fmla="*/ 704850 h 4947372"/>
                <a:gd name="connsiteX158" fmla="*/ 127000 w 4570627"/>
                <a:gd name="connsiteY158" fmla="*/ 755650 h 4947372"/>
                <a:gd name="connsiteX159" fmla="*/ 215900 w 4570627"/>
                <a:gd name="connsiteY159" fmla="*/ 698500 h 4947372"/>
                <a:gd name="connsiteX160" fmla="*/ 368300 w 4570627"/>
                <a:gd name="connsiteY160" fmla="*/ 698500 h 4947372"/>
                <a:gd name="connsiteX161" fmla="*/ 368300 w 4570627"/>
                <a:gd name="connsiteY161" fmla="*/ 749300 h 4947372"/>
                <a:gd name="connsiteX162" fmla="*/ 495300 w 4570627"/>
                <a:gd name="connsiteY162" fmla="*/ 749300 h 4947372"/>
                <a:gd name="connsiteX163" fmla="*/ 488950 w 4570627"/>
                <a:gd name="connsiteY163" fmla="*/ 660400 h 4947372"/>
                <a:gd name="connsiteX164" fmla="*/ 488950 w 4570627"/>
                <a:gd name="connsiteY164" fmla="*/ 552450 h 4947372"/>
                <a:gd name="connsiteX165" fmla="*/ 596900 w 4570627"/>
                <a:gd name="connsiteY165" fmla="*/ 565150 h 4947372"/>
                <a:gd name="connsiteX166" fmla="*/ 679450 w 4570627"/>
                <a:gd name="connsiteY166" fmla="*/ 463550 h 4947372"/>
                <a:gd name="connsiteX167" fmla="*/ 717550 w 4570627"/>
                <a:gd name="connsiteY167" fmla="*/ 260350 h 4947372"/>
                <a:gd name="connsiteX168" fmla="*/ 812800 w 4570627"/>
                <a:gd name="connsiteY168" fmla="*/ 311150 h 4947372"/>
                <a:gd name="connsiteX169" fmla="*/ 952500 w 4570627"/>
                <a:gd name="connsiteY169" fmla="*/ 215900 h 4947372"/>
                <a:gd name="connsiteX170" fmla="*/ 979517 w 4570627"/>
                <a:gd name="connsiteY170" fmla="*/ 175377 h 4947372"/>
                <a:gd name="connsiteX171" fmla="*/ 977900 w 4570627"/>
                <a:gd name="connsiteY171" fmla="*/ 222250 h 4947372"/>
                <a:gd name="connsiteX172" fmla="*/ 1060450 w 4570627"/>
                <a:gd name="connsiteY172" fmla="*/ 127000 h 4947372"/>
                <a:gd name="connsiteX173" fmla="*/ 920750 w 4570627"/>
                <a:gd name="connsiteY173" fmla="*/ 6351 h 4947372"/>
                <a:gd name="connsiteX174" fmla="*/ 869950 w 4570627"/>
                <a:gd name="connsiteY174" fmla="*/ 19050 h 4947372"/>
                <a:gd name="connsiteX175" fmla="*/ 920750 w 4570627"/>
                <a:gd name="connsiteY175" fmla="*/ 6350 h 4947372"/>
                <a:gd name="connsiteX176" fmla="*/ 920750 w 4570627"/>
                <a:gd name="connsiteY176" fmla="*/ 6351 h 4947372"/>
                <a:gd name="connsiteX177" fmla="*/ 1022350 w 4570627"/>
                <a:gd name="connsiteY177" fmla="*/ 1 h 4947372"/>
                <a:gd name="connsiteX178" fmla="*/ 1022350 w 4570627"/>
                <a:gd name="connsiteY178" fmla="*/ 0 h 4947372"/>
                <a:gd name="connsiteX179" fmla="*/ 1022350 w 4570627"/>
                <a:gd name="connsiteY179" fmla="*/ 1 h 4947372"/>
                <a:gd name="connsiteX0" fmla="*/ 555179 w 4570627"/>
                <a:gd name="connsiteY0" fmla="*/ 4618435 h 4947372"/>
                <a:gd name="connsiteX1" fmla="*/ 555179 w 4570627"/>
                <a:gd name="connsiteY1" fmla="*/ 4618435 h 4947372"/>
                <a:gd name="connsiteX2" fmla="*/ 546724 w 4570627"/>
                <a:gd name="connsiteY2" fmla="*/ 4643035 h 4947372"/>
                <a:gd name="connsiteX3" fmla="*/ 546723 w 4570627"/>
                <a:gd name="connsiteY3" fmla="*/ 4643035 h 4947372"/>
                <a:gd name="connsiteX4" fmla="*/ 555179 w 4570627"/>
                <a:gd name="connsiteY4" fmla="*/ 4618435 h 4947372"/>
                <a:gd name="connsiteX5" fmla="*/ 1060450 w 4570627"/>
                <a:gd name="connsiteY5" fmla="*/ 127000 h 4947372"/>
                <a:gd name="connsiteX6" fmla="*/ 1149350 w 4570627"/>
                <a:gd name="connsiteY6" fmla="*/ 165100 h 4947372"/>
                <a:gd name="connsiteX7" fmla="*/ 1263650 w 4570627"/>
                <a:gd name="connsiteY7" fmla="*/ 241300 h 4947372"/>
                <a:gd name="connsiteX8" fmla="*/ 1320800 w 4570627"/>
                <a:gd name="connsiteY8" fmla="*/ 361950 h 4947372"/>
                <a:gd name="connsiteX9" fmla="*/ 1371600 w 4570627"/>
                <a:gd name="connsiteY9" fmla="*/ 342900 h 4947372"/>
                <a:gd name="connsiteX10" fmla="*/ 1479550 w 4570627"/>
                <a:gd name="connsiteY10" fmla="*/ 450850 h 4947372"/>
                <a:gd name="connsiteX11" fmla="*/ 1530350 w 4570627"/>
                <a:gd name="connsiteY11" fmla="*/ 615950 h 4947372"/>
                <a:gd name="connsiteX12" fmla="*/ 1612900 w 4570627"/>
                <a:gd name="connsiteY12" fmla="*/ 660400 h 4947372"/>
                <a:gd name="connsiteX13" fmla="*/ 1638300 w 4570627"/>
                <a:gd name="connsiteY13" fmla="*/ 590550 h 4947372"/>
                <a:gd name="connsiteX14" fmla="*/ 1739900 w 4570627"/>
                <a:gd name="connsiteY14" fmla="*/ 596900 h 4947372"/>
                <a:gd name="connsiteX15" fmla="*/ 1746250 w 4570627"/>
                <a:gd name="connsiteY15" fmla="*/ 546100 h 4947372"/>
                <a:gd name="connsiteX16" fmla="*/ 1689100 w 4570627"/>
                <a:gd name="connsiteY16" fmla="*/ 514350 h 4947372"/>
                <a:gd name="connsiteX17" fmla="*/ 1638300 w 4570627"/>
                <a:gd name="connsiteY17" fmla="*/ 469900 h 4947372"/>
                <a:gd name="connsiteX18" fmla="*/ 1625600 w 4570627"/>
                <a:gd name="connsiteY18" fmla="*/ 419100 h 4947372"/>
                <a:gd name="connsiteX19" fmla="*/ 1778000 w 4570627"/>
                <a:gd name="connsiteY19" fmla="*/ 361950 h 4947372"/>
                <a:gd name="connsiteX20" fmla="*/ 1879600 w 4570627"/>
                <a:gd name="connsiteY20" fmla="*/ 374650 h 4947372"/>
                <a:gd name="connsiteX21" fmla="*/ 1873250 w 4570627"/>
                <a:gd name="connsiteY21" fmla="*/ 438150 h 4947372"/>
                <a:gd name="connsiteX22" fmla="*/ 1981200 w 4570627"/>
                <a:gd name="connsiteY22" fmla="*/ 431800 h 4947372"/>
                <a:gd name="connsiteX23" fmla="*/ 2006600 w 4570627"/>
                <a:gd name="connsiteY23" fmla="*/ 431800 h 4947372"/>
                <a:gd name="connsiteX24" fmla="*/ 2032000 w 4570627"/>
                <a:gd name="connsiteY24" fmla="*/ 533400 h 4947372"/>
                <a:gd name="connsiteX25" fmla="*/ 2133600 w 4570627"/>
                <a:gd name="connsiteY25" fmla="*/ 546100 h 4947372"/>
                <a:gd name="connsiteX26" fmla="*/ 2171700 w 4570627"/>
                <a:gd name="connsiteY26" fmla="*/ 412750 h 4947372"/>
                <a:gd name="connsiteX27" fmla="*/ 2146300 w 4570627"/>
                <a:gd name="connsiteY27" fmla="*/ 273050 h 4947372"/>
                <a:gd name="connsiteX28" fmla="*/ 2216150 w 4570627"/>
                <a:gd name="connsiteY28" fmla="*/ 190500 h 4947372"/>
                <a:gd name="connsiteX29" fmla="*/ 2279650 w 4570627"/>
                <a:gd name="connsiteY29" fmla="*/ 184150 h 4947372"/>
                <a:gd name="connsiteX30" fmla="*/ 2305050 w 4570627"/>
                <a:gd name="connsiteY30" fmla="*/ 279400 h 4947372"/>
                <a:gd name="connsiteX31" fmla="*/ 2374900 w 4570627"/>
                <a:gd name="connsiteY31" fmla="*/ 342900 h 4947372"/>
                <a:gd name="connsiteX32" fmla="*/ 2381250 w 4570627"/>
                <a:gd name="connsiteY32" fmla="*/ 406400 h 4947372"/>
                <a:gd name="connsiteX33" fmla="*/ 2514600 w 4570627"/>
                <a:gd name="connsiteY33" fmla="*/ 355600 h 4947372"/>
                <a:gd name="connsiteX34" fmla="*/ 2641600 w 4570627"/>
                <a:gd name="connsiteY34" fmla="*/ 330200 h 4947372"/>
                <a:gd name="connsiteX35" fmla="*/ 2686050 w 4570627"/>
                <a:gd name="connsiteY35" fmla="*/ 368300 h 4947372"/>
                <a:gd name="connsiteX36" fmla="*/ 2774950 w 4570627"/>
                <a:gd name="connsiteY36" fmla="*/ 317500 h 4947372"/>
                <a:gd name="connsiteX37" fmla="*/ 2796953 w 4570627"/>
                <a:gd name="connsiteY37" fmla="*/ 319596 h 4947372"/>
                <a:gd name="connsiteX38" fmla="*/ 2787650 w 4570627"/>
                <a:gd name="connsiteY38" fmla="*/ 298452 h 4947372"/>
                <a:gd name="connsiteX39" fmla="*/ 2857500 w 4570627"/>
                <a:gd name="connsiteY39" fmla="*/ 457201 h 4947372"/>
                <a:gd name="connsiteX40" fmla="*/ 2971800 w 4570627"/>
                <a:gd name="connsiteY40" fmla="*/ 482601 h 4947372"/>
                <a:gd name="connsiteX41" fmla="*/ 3054350 w 4570627"/>
                <a:gd name="connsiteY41" fmla="*/ 501651 h 4947372"/>
                <a:gd name="connsiteX42" fmla="*/ 3093057 w 4570627"/>
                <a:gd name="connsiteY42" fmla="*/ 656481 h 4947372"/>
                <a:gd name="connsiteX43" fmla="*/ 3011086 w 4570627"/>
                <a:gd name="connsiteY43" fmla="*/ 537623 h 4947372"/>
                <a:gd name="connsiteX44" fmla="*/ 2924805 w 4570627"/>
                <a:gd name="connsiteY44" fmla="*/ 623904 h 4947372"/>
                <a:gd name="connsiteX45" fmla="*/ 3026774 w 4570627"/>
                <a:gd name="connsiteY45" fmla="*/ 733716 h 4947372"/>
                <a:gd name="connsiteX46" fmla="*/ 3050305 w 4570627"/>
                <a:gd name="connsiteY46" fmla="*/ 906278 h 4947372"/>
                <a:gd name="connsiteX47" fmla="*/ 3348367 w 4570627"/>
                <a:gd name="connsiteY47" fmla="*/ 1078841 h 4947372"/>
                <a:gd name="connsiteX48" fmla="*/ 3411117 w 4570627"/>
                <a:gd name="connsiteY48" fmla="*/ 1188653 h 4947372"/>
                <a:gd name="connsiteX49" fmla="*/ 3262086 w 4570627"/>
                <a:gd name="connsiteY49" fmla="*/ 1369059 h 4947372"/>
                <a:gd name="connsiteX50" fmla="*/ 3395429 w 4570627"/>
                <a:gd name="connsiteY50" fmla="*/ 1612215 h 4947372"/>
                <a:gd name="connsiteX51" fmla="*/ 3489554 w 4570627"/>
                <a:gd name="connsiteY51" fmla="*/ 1894589 h 4947372"/>
                <a:gd name="connsiteX52" fmla="*/ 3638585 w 4570627"/>
                <a:gd name="connsiteY52" fmla="*/ 2059308 h 4947372"/>
                <a:gd name="connsiteX53" fmla="*/ 3756241 w 4570627"/>
                <a:gd name="connsiteY53" fmla="*/ 1965183 h 4947372"/>
                <a:gd name="connsiteX54" fmla="*/ 3905271 w 4570627"/>
                <a:gd name="connsiteY54" fmla="*/ 2208339 h 4947372"/>
                <a:gd name="connsiteX55" fmla="*/ 4007240 w 4570627"/>
                <a:gd name="connsiteY55" fmla="*/ 2325995 h 4947372"/>
                <a:gd name="connsiteX56" fmla="*/ 4124896 w 4570627"/>
                <a:gd name="connsiteY56" fmla="*/ 2325995 h 4947372"/>
                <a:gd name="connsiteX57" fmla="*/ 4328833 w 4570627"/>
                <a:gd name="connsiteY57" fmla="*/ 2608369 h 4947372"/>
                <a:gd name="connsiteX58" fmla="*/ 4446489 w 4570627"/>
                <a:gd name="connsiteY58" fmla="*/ 2592682 h 4947372"/>
                <a:gd name="connsiteX59" fmla="*/ 4564145 w 4570627"/>
                <a:gd name="connsiteY59" fmla="*/ 2718182 h 4947372"/>
                <a:gd name="connsiteX60" fmla="*/ 4570627 w 4570627"/>
                <a:gd name="connsiteY60" fmla="*/ 2728182 h 4947372"/>
                <a:gd name="connsiteX61" fmla="*/ 4493946 w 4570627"/>
                <a:gd name="connsiteY61" fmla="*/ 3096250 h 4947372"/>
                <a:gd name="connsiteX62" fmla="*/ 4274322 w 4570627"/>
                <a:gd name="connsiteY62" fmla="*/ 3111937 h 4947372"/>
                <a:gd name="connsiteX63" fmla="*/ 4180197 w 4570627"/>
                <a:gd name="connsiteY63" fmla="*/ 3441374 h 4947372"/>
                <a:gd name="connsiteX64" fmla="*/ 3819386 w 4570627"/>
                <a:gd name="connsiteY64" fmla="*/ 3566874 h 4947372"/>
                <a:gd name="connsiteX65" fmla="*/ 3552699 w 4570627"/>
                <a:gd name="connsiteY65" fmla="*/ 3723749 h 4947372"/>
                <a:gd name="connsiteX66" fmla="*/ 3552699 w 4570627"/>
                <a:gd name="connsiteY66" fmla="*/ 3833561 h 4947372"/>
                <a:gd name="connsiteX67" fmla="*/ 3788011 w 4570627"/>
                <a:gd name="connsiteY67" fmla="*/ 4037498 h 4947372"/>
                <a:gd name="connsiteX68" fmla="*/ 3772323 w 4570627"/>
                <a:gd name="connsiteY68" fmla="*/ 4257123 h 4947372"/>
                <a:gd name="connsiteX69" fmla="*/ 3866448 w 4570627"/>
                <a:gd name="connsiteY69" fmla="*/ 4366935 h 4947372"/>
                <a:gd name="connsiteX70" fmla="*/ 3897823 w 4570627"/>
                <a:gd name="connsiteY70" fmla="*/ 4602248 h 4947372"/>
                <a:gd name="connsiteX71" fmla="*/ 3819386 w 4570627"/>
                <a:gd name="connsiteY71" fmla="*/ 4712060 h 4947372"/>
                <a:gd name="connsiteX72" fmla="*/ 3662511 w 4570627"/>
                <a:gd name="connsiteY72" fmla="*/ 4633622 h 4947372"/>
                <a:gd name="connsiteX73" fmla="*/ 3615449 w 4570627"/>
                <a:gd name="connsiteY73" fmla="*/ 4555185 h 4947372"/>
                <a:gd name="connsiteX74" fmla="*/ 3615449 w 4570627"/>
                <a:gd name="connsiteY74" fmla="*/ 4413998 h 4947372"/>
                <a:gd name="connsiteX75" fmla="*/ 3458574 w 4570627"/>
                <a:gd name="connsiteY75" fmla="*/ 4351248 h 4947372"/>
                <a:gd name="connsiteX76" fmla="*/ 3395824 w 4570627"/>
                <a:gd name="connsiteY76" fmla="*/ 4476748 h 4947372"/>
                <a:gd name="connsiteX77" fmla="*/ 3160513 w 4570627"/>
                <a:gd name="connsiteY77" fmla="*/ 4398310 h 4947372"/>
                <a:gd name="connsiteX78" fmla="*/ 3144825 w 4570627"/>
                <a:gd name="connsiteY78" fmla="*/ 4335560 h 4947372"/>
                <a:gd name="connsiteX79" fmla="*/ 2940888 w 4570627"/>
                <a:gd name="connsiteY79" fmla="*/ 4413998 h 4947372"/>
                <a:gd name="connsiteX80" fmla="*/ 2831076 w 4570627"/>
                <a:gd name="connsiteY80" fmla="*/ 4523810 h 4947372"/>
                <a:gd name="connsiteX81" fmla="*/ 2564389 w 4570627"/>
                <a:gd name="connsiteY81" fmla="*/ 4555185 h 4947372"/>
                <a:gd name="connsiteX82" fmla="*/ 2329077 w 4570627"/>
                <a:gd name="connsiteY82" fmla="*/ 4570873 h 4947372"/>
                <a:gd name="connsiteX83" fmla="*/ 2125140 w 4570627"/>
                <a:gd name="connsiteY83" fmla="*/ 4759122 h 4947372"/>
                <a:gd name="connsiteX84" fmla="*/ 1936891 w 4570627"/>
                <a:gd name="connsiteY84" fmla="*/ 4806185 h 4947372"/>
                <a:gd name="connsiteX85" fmla="*/ 1717266 w 4570627"/>
                <a:gd name="connsiteY85" fmla="*/ 4696372 h 4947372"/>
                <a:gd name="connsiteX86" fmla="*/ 1701579 w 4570627"/>
                <a:gd name="connsiteY86" fmla="*/ 4570873 h 4947372"/>
                <a:gd name="connsiteX87" fmla="*/ 1576079 w 4570627"/>
                <a:gd name="connsiteY87" fmla="*/ 4523810 h 4947372"/>
                <a:gd name="connsiteX88" fmla="*/ 1419205 w 4570627"/>
                <a:gd name="connsiteY88" fmla="*/ 4523810 h 4947372"/>
                <a:gd name="connsiteX89" fmla="*/ 1340768 w 4570627"/>
                <a:gd name="connsiteY89" fmla="*/ 4617935 h 4947372"/>
                <a:gd name="connsiteX90" fmla="*/ 1309393 w 4570627"/>
                <a:gd name="connsiteY90" fmla="*/ 4774810 h 4947372"/>
                <a:gd name="connsiteX91" fmla="*/ 1246643 w 4570627"/>
                <a:gd name="connsiteY91" fmla="*/ 4868935 h 4947372"/>
                <a:gd name="connsiteX92" fmla="*/ 1152518 w 4570627"/>
                <a:gd name="connsiteY92" fmla="*/ 4947372 h 4947372"/>
                <a:gd name="connsiteX93" fmla="*/ 964268 w 4570627"/>
                <a:gd name="connsiteY93" fmla="*/ 4900310 h 4947372"/>
                <a:gd name="connsiteX94" fmla="*/ 948581 w 4570627"/>
                <a:gd name="connsiteY94" fmla="*/ 4633622 h 4947372"/>
                <a:gd name="connsiteX95" fmla="*/ 807394 w 4570627"/>
                <a:gd name="connsiteY95" fmla="*/ 4539498 h 4947372"/>
                <a:gd name="connsiteX96" fmla="*/ 773692 w 4570627"/>
                <a:gd name="connsiteY96" fmla="*/ 4539498 h 4947372"/>
                <a:gd name="connsiteX97" fmla="*/ 802640 w 4570627"/>
                <a:gd name="connsiteY97" fmla="*/ 4488180 h 4947372"/>
                <a:gd name="connsiteX98" fmla="*/ 894080 w 4570627"/>
                <a:gd name="connsiteY98" fmla="*/ 4389120 h 4947372"/>
                <a:gd name="connsiteX99" fmla="*/ 1122680 w 4570627"/>
                <a:gd name="connsiteY99" fmla="*/ 4419600 h 4947372"/>
                <a:gd name="connsiteX100" fmla="*/ 1168400 w 4570627"/>
                <a:gd name="connsiteY100" fmla="*/ 4351020 h 4947372"/>
                <a:gd name="connsiteX101" fmla="*/ 1122680 w 4570627"/>
                <a:gd name="connsiteY101" fmla="*/ 4221480 h 4947372"/>
                <a:gd name="connsiteX102" fmla="*/ 1160780 w 4570627"/>
                <a:gd name="connsiteY102" fmla="*/ 4168140 h 4947372"/>
                <a:gd name="connsiteX103" fmla="*/ 1130300 w 4570627"/>
                <a:gd name="connsiteY103" fmla="*/ 4076700 h 4947372"/>
                <a:gd name="connsiteX104" fmla="*/ 1160780 w 4570627"/>
                <a:gd name="connsiteY104" fmla="*/ 3756660 h 4947372"/>
                <a:gd name="connsiteX105" fmla="*/ 1038860 w 4570627"/>
                <a:gd name="connsiteY105" fmla="*/ 3345180 h 4947372"/>
                <a:gd name="connsiteX106" fmla="*/ 1130300 w 4570627"/>
                <a:gd name="connsiteY106" fmla="*/ 3185160 h 4947372"/>
                <a:gd name="connsiteX107" fmla="*/ 1183640 w 4570627"/>
                <a:gd name="connsiteY107" fmla="*/ 3223260 h 4947372"/>
                <a:gd name="connsiteX108" fmla="*/ 1336040 w 4570627"/>
                <a:gd name="connsiteY108" fmla="*/ 3124200 h 4947372"/>
                <a:gd name="connsiteX109" fmla="*/ 1351280 w 4570627"/>
                <a:gd name="connsiteY109" fmla="*/ 2994660 h 4947372"/>
                <a:gd name="connsiteX110" fmla="*/ 1290320 w 4570627"/>
                <a:gd name="connsiteY110" fmla="*/ 2918460 h 4947372"/>
                <a:gd name="connsiteX111" fmla="*/ 1290320 w 4570627"/>
                <a:gd name="connsiteY111" fmla="*/ 2872740 h 4947372"/>
                <a:gd name="connsiteX112" fmla="*/ 1366520 w 4570627"/>
                <a:gd name="connsiteY112" fmla="*/ 2872740 h 4947372"/>
                <a:gd name="connsiteX113" fmla="*/ 1389380 w 4570627"/>
                <a:gd name="connsiteY113" fmla="*/ 2918460 h 4947372"/>
                <a:gd name="connsiteX114" fmla="*/ 1518920 w 4570627"/>
                <a:gd name="connsiteY114" fmla="*/ 2887980 h 4947372"/>
                <a:gd name="connsiteX115" fmla="*/ 1503680 w 4570627"/>
                <a:gd name="connsiteY115" fmla="*/ 2796540 h 4947372"/>
                <a:gd name="connsiteX116" fmla="*/ 1450340 w 4570627"/>
                <a:gd name="connsiteY116" fmla="*/ 2735580 h 4947372"/>
                <a:gd name="connsiteX117" fmla="*/ 1488440 w 4570627"/>
                <a:gd name="connsiteY117" fmla="*/ 2522220 h 4947372"/>
                <a:gd name="connsiteX118" fmla="*/ 1389380 w 4570627"/>
                <a:gd name="connsiteY118" fmla="*/ 2369820 h 4947372"/>
                <a:gd name="connsiteX119" fmla="*/ 1297940 w 4570627"/>
                <a:gd name="connsiteY119" fmla="*/ 2354580 h 4947372"/>
                <a:gd name="connsiteX120" fmla="*/ 1244600 w 4570627"/>
                <a:gd name="connsiteY120" fmla="*/ 2255520 h 4947372"/>
                <a:gd name="connsiteX121" fmla="*/ 1282700 w 4570627"/>
                <a:gd name="connsiteY121" fmla="*/ 2202180 h 4947372"/>
                <a:gd name="connsiteX122" fmla="*/ 1183640 w 4570627"/>
                <a:gd name="connsiteY122" fmla="*/ 2095500 h 4947372"/>
                <a:gd name="connsiteX123" fmla="*/ 1168400 w 4570627"/>
                <a:gd name="connsiteY123" fmla="*/ 1996440 h 4947372"/>
                <a:gd name="connsiteX124" fmla="*/ 1183640 w 4570627"/>
                <a:gd name="connsiteY124" fmla="*/ 1965960 h 4947372"/>
                <a:gd name="connsiteX125" fmla="*/ 1153160 w 4570627"/>
                <a:gd name="connsiteY125" fmla="*/ 1836420 h 4947372"/>
                <a:gd name="connsiteX126" fmla="*/ 1176020 w 4570627"/>
                <a:gd name="connsiteY126" fmla="*/ 1821180 h 4947372"/>
                <a:gd name="connsiteX127" fmla="*/ 1145540 w 4570627"/>
                <a:gd name="connsiteY127" fmla="*/ 1607820 h 4947372"/>
                <a:gd name="connsiteX128" fmla="*/ 1099820 w 4570627"/>
                <a:gd name="connsiteY128" fmla="*/ 1569720 h 4947372"/>
                <a:gd name="connsiteX129" fmla="*/ 1076960 w 4570627"/>
                <a:gd name="connsiteY129" fmla="*/ 1592580 h 4947372"/>
                <a:gd name="connsiteX130" fmla="*/ 1069340 w 4570627"/>
                <a:gd name="connsiteY130" fmla="*/ 1661160 h 4947372"/>
                <a:gd name="connsiteX131" fmla="*/ 970280 w 4570627"/>
                <a:gd name="connsiteY131" fmla="*/ 1668780 h 4947372"/>
                <a:gd name="connsiteX132" fmla="*/ 932180 w 4570627"/>
                <a:gd name="connsiteY132" fmla="*/ 1524000 h 4947372"/>
                <a:gd name="connsiteX133" fmla="*/ 871220 w 4570627"/>
                <a:gd name="connsiteY133" fmla="*/ 1569720 h 4947372"/>
                <a:gd name="connsiteX134" fmla="*/ 855980 w 4570627"/>
                <a:gd name="connsiteY134" fmla="*/ 1524000 h 4947372"/>
                <a:gd name="connsiteX135" fmla="*/ 924560 w 4570627"/>
                <a:gd name="connsiteY135" fmla="*/ 1463040 h 4947372"/>
                <a:gd name="connsiteX136" fmla="*/ 855980 w 4570627"/>
                <a:gd name="connsiteY136" fmla="*/ 1333500 h 4947372"/>
                <a:gd name="connsiteX137" fmla="*/ 825500 w 4570627"/>
                <a:gd name="connsiteY137" fmla="*/ 1280160 h 4947372"/>
                <a:gd name="connsiteX138" fmla="*/ 787400 w 4570627"/>
                <a:gd name="connsiteY138" fmla="*/ 1379220 h 4947372"/>
                <a:gd name="connsiteX139" fmla="*/ 772160 w 4570627"/>
                <a:gd name="connsiteY139" fmla="*/ 1318260 h 4947372"/>
                <a:gd name="connsiteX140" fmla="*/ 688340 w 4570627"/>
                <a:gd name="connsiteY140" fmla="*/ 1371600 h 4947372"/>
                <a:gd name="connsiteX141" fmla="*/ 695960 w 4570627"/>
                <a:gd name="connsiteY141" fmla="*/ 1226820 h 4947372"/>
                <a:gd name="connsiteX142" fmla="*/ 497840 w 4570627"/>
                <a:gd name="connsiteY142" fmla="*/ 1211580 h 4947372"/>
                <a:gd name="connsiteX143" fmla="*/ 353060 w 4570627"/>
                <a:gd name="connsiteY143" fmla="*/ 1264920 h 4947372"/>
                <a:gd name="connsiteX144" fmla="*/ 467360 w 4570627"/>
                <a:gd name="connsiteY144" fmla="*/ 1325880 h 4947372"/>
                <a:gd name="connsiteX145" fmla="*/ 474980 w 4570627"/>
                <a:gd name="connsiteY145" fmla="*/ 1402080 h 4947372"/>
                <a:gd name="connsiteX146" fmla="*/ 391160 w 4570627"/>
                <a:gd name="connsiteY146" fmla="*/ 1402080 h 4947372"/>
                <a:gd name="connsiteX147" fmla="*/ 360680 w 4570627"/>
                <a:gd name="connsiteY147" fmla="*/ 1501140 h 4947372"/>
                <a:gd name="connsiteX148" fmla="*/ 132080 w 4570627"/>
                <a:gd name="connsiteY148" fmla="*/ 1516380 h 4947372"/>
                <a:gd name="connsiteX149" fmla="*/ 69850 w 4570627"/>
                <a:gd name="connsiteY149" fmla="*/ 1483191 h 4947372"/>
                <a:gd name="connsiteX150" fmla="*/ 69850 w 4570627"/>
                <a:gd name="connsiteY150" fmla="*/ 1384300 h 4947372"/>
                <a:gd name="connsiteX151" fmla="*/ 146050 w 4570627"/>
                <a:gd name="connsiteY151" fmla="*/ 1244600 h 4947372"/>
                <a:gd name="connsiteX152" fmla="*/ 82550 w 4570627"/>
                <a:gd name="connsiteY152" fmla="*/ 1143000 h 4947372"/>
                <a:gd name="connsiteX153" fmla="*/ 25400 w 4570627"/>
                <a:gd name="connsiteY153" fmla="*/ 1117600 h 4947372"/>
                <a:gd name="connsiteX154" fmla="*/ 31750 w 4570627"/>
                <a:gd name="connsiteY154" fmla="*/ 901700 h 4947372"/>
                <a:gd name="connsiteX155" fmla="*/ 0 w 4570627"/>
                <a:gd name="connsiteY155" fmla="*/ 825500 h 4947372"/>
                <a:gd name="connsiteX156" fmla="*/ 0 w 4570627"/>
                <a:gd name="connsiteY156" fmla="*/ 723900 h 4947372"/>
                <a:gd name="connsiteX157" fmla="*/ 107950 w 4570627"/>
                <a:gd name="connsiteY157" fmla="*/ 704850 h 4947372"/>
                <a:gd name="connsiteX158" fmla="*/ 127000 w 4570627"/>
                <a:gd name="connsiteY158" fmla="*/ 755650 h 4947372"/>
                <a:gd name="connsiteX159" fmla="*/ 215900 w 4570627"/>
                <a:gd name="connsiteY159" fmla="*/ 698500 h 4947372"/>
                <a:gd name="connsiteX160" fmla="*/ 368300 w 4570627"/>
                <a:gd name="connsiteY160" fmla="*/ 698500 h 4947372"/>
                <a:gd name="connsiteX161" fmla="*/ 368300 w 4570627"/>
                <a:gd name="connsiteY161" fmla="*/ 749300 h 4947372"/>
                <a:gd name="connsiteX162" fmla="*/ 495300 w 4570627"/>
                <a:gd name="connsiteY162" fmla="*/ 749300 h 4947372"/>
                <a:gd name="connsiteX163" fmla="*/ 488950 w 4570627"/>
                <a:gd name="connsiteY163" fmla="*/ 660400 h 4947372"/>
                <a:gd name="connsiteX164" fmla="*/ 488950 w 4570627"/>
                <a:gd name="connsiteY164" fmla="*/ 552450 h 4947372"/>
                <a:gd name="connsiteX165" fmla="*/ 596900 w 4570627"/>
                <a:gd name="connsiteY165" fmla="*/ 565150 h 4947372"/>
                <a:gd name="connsiteX166" fmla="*/ 679450 w 4570627"/>
                <a:gd name="connsiteY166" fmla="*/ 463550 h 4947372"/>
                <a:gd name="connsiteX167" fmla="*/ 717550 w 4570627"/>
                <a:gd name="connsiteY167" fmla="*/ 260350 h 4947372"/>
                <a:gd name="connsiteX168" fmla="*/ 812800 w 4570627"/>
                <a:gd name="connsiteY168" fmla="*/ 311150 h 4947372"/>
                <a:gd name="connsiteX169" fmla="*/ 952500 w 4570627"/>
                <a:gd name="connsiteY169" fmla="*/ 215900 h 4947372"/>
                <a:gd name="connsiteX170" fmla="*/ 979517 w 4570627"/>
                <a:gd name="connsiteY170" fmla="*/ 175377 h 4947372"/>
                <a:gd name="connsiteX171" fmla="*/ 977900 w 4570627"/>
                <a:gd name="connsiteY171" fmla="*/ 222250 h 4947372"/>
                <a:gd name="connsiteX172" fmla="*/ 1060450 w 4570627"/>
                <a:gd name="connsiteY172" fmla="*/ 127000 h 4947372"/>
                <a:gd name="connsiteX173" fmla="*/ 920750 w 4570627"/>
                <a:gd name="connsiteY173" fmla="*/ 6350 h 4947372"/>
                <a:gd name="connsiteX174" fmla="*/ 869950 w 4570627"/>
                <a:gd name="connsiteY174" fmla="*/ 19050 h 4947372"/>
                <a:gd name="connsiteX175" fmla="*/ 920750 w 4570627"/>
                <a:gd name="connsiteY175" fmla="*/ 6350 h 4947372"/>
                <a:gd name="connsiteX176" fmla="*/ 1022350 w 4570627"/>
                <a:gd name="connsiteY176" fmla="*/ 1 h 4947372"/>
                <a:gd name="connsiteX177" fmla="*/ 1022350 w 4570627"/>
                <a:gd name="connsiteY177" fmla="*/ 0 h 4947372"/>
                <a:gd name="connsiteX178" fmla="*/ 1022350 w 4570627"/>
                <a:gd name="connsiteY178" fmla="*/ 1 h 4947372"/>
                <a:gd name="connsiteX0" fmla="*/ 555179 w 4570627"/>
                <a:gd name="connsiteY0" fmla="*/ 4618435 h 4947372"/>
                <a:gd name="connsiteX1" fmla="*/ 555179 w 4570627"/>
                <a:gd name="connsiteY1" fmla="*/ 4618435 h 4947372"/>
                <a:gd name="connsiteX2" fmla="*/ 546724 w 4570627"/>
                <a:gd name="connsiteY2" fmla="*/ 4643035 h 4947372"/>
                <a:gd name="connsiteX3" fmla="*/ 546723 w 4570627"/>
                <a:gd name="connsiteY3" fmla="*/ 4643035 h 4947372"/>
                <a:gd name="connsiteX4" fmla="*/ 555179 w 4570627"/>
                <a:gd name="connsiteY4" fmla="*/ 4618435 h 4947372"/>
                <a:gd name="connsiteX5" fmla="*/ 1060450 w 4570627"/>
                <a:gd name="connsiteY5" fmla="*/ 127000 h 4947372"/>
                <a:gd name="connsiteX6" fmla="*/ 1149350 w 4570627"/>
                <a:gd name="connsiteY6" fmla="*/ 165100 h 4947372"/>
                <a:gd name="connsiteX7" fmla="*/ 1263650 w 4570627"/>
                <a:gd name="connsiteY7" fmla="*/ 241300 h 4947372"/>
                <a:gd name="connsiteX8" fmla="*/ 1320800 w 4570627"/>
                <a:gd name="connsiteY8" fmla="*/ 361950 h 4947372"/>
                <a:gd name="connsiteX9" fmla="*/ 1371600 w 4570627"/>
                <a:gd name="connsiteY9" fmla="*/ 342900 h 4947372"/>
                <a:gd name="connsiteX10" fmla="*/ 1479550 w 4570627"/>
                <a:gd name="connsiteY10" fmla="*/ 450850 h 4947372"/>
                <a:gd name="connsiteX11" fmla="*/ 1530350 w 4570627"/>
                <a:gd name="connsiteY11" fmla="*/ 615950 h 4947372"/>
                <a:gd name="connsiteX12" fmla="*/ 1612900 w 4570627"/>
                <a:gd name="connsiteY12" fmla="*/ 660400 h 4947372"/>
                <a:gd name="connsiteX13" fmla="*/ 1638300 w 4570627"/>
                <a:gd name="connsiteY13" fmla="*/ 590550 h 4947372"/>
                <a:gd name="connsiteX14" fmla="*/ 1739900 w 4570627"/>
                <a:gd name="connsiteY14" fmla="*/ 596900 h 4947372"/>
                <a:gd name="connsiteX15" fmla="*/ 1746250 w 4570627"/>
                <a:gd name="connsiteY15" fmla="*/ 546100 h 4947372"/>
                <a:gd name="connsiteX16" fmla="*/ 1689100 w 4570627"/>
                <a:gd name="connsiteY16" fmla="*/ 514350 h 4947372"/>
                <a:gd name="connsiteX17" fmla="*/ 1638300 w 4570627"/>
                <a:gd name="connsiteY17" fmla="*/ 469900 h 4947372"/>
                <a:gd name="connsiteX18" fmla="*/ 1625600 w 4570627"/>
                <a:gd name="connsiteY18" fmla="*/ 419100 h 4947372"/>
                <a:gd name="connsiteX19" fmla="*/ 1778000 w 4570627"/>
                <a:gd name="connsiteY19" fmla="*/ 361950 h 4947372"/>
                <a:gd name="connsiteX20" fmla="*/ 1879600 w 4570627"/>
                <a:gd name="connsiteY20" fmla="*/ 374650 h 4947372"/>
                <a:gd name="connsiteX21" fmla="*/ 1873250 w 4570627"/>
                <a:gd name="connsiteY21" fmla="*/ 438150 h 4947372"/>
                <a:gd name="connsiteX22" fmla="*/ 1981200 w 4570627"/>
                <a:gd name="connsiteY22" fmla="*/ 431800 h 4947372"/>
                <a:gd name="connsiteX23" fmla="*/ 2006600 w 4570627"/>
                <a:gd name="connsiteY23" fmla="*/ 431800 h 4947372"/>
                <a:gd name="connsiteX24" fmla="*/ 2032000 w 4570627"/>
                <a:gd name="connsiteY24" fmla="*/ 533400 h 4947372"/>
                <a:gd name="connsiteX25" fmla="*/ 2133600 w 4570627"/>
                <a:gd name="connsiteY25" fmla="*/ 546100 h 4947372"/>
                <a:gd name="connsiteX26" fmla="*/ 2171700 w 4570627"/>
                <a:gd name="connsiteY26" fmla="*/ 412750 h 4947372"/>
                <a:gd name="connsiteX27" fmla="*/ 2146300 w 4570627"/>
                <a:gd name="connsiteY27" fmla="*/ 273050 h 4947372"/>
                <a:gd name="connsiteX28" fmla="*/ 2216150 w 4570627"/>
                <a:gd name="connsiteY28" fmla="*/ 190500 h 4947372"/>
                <a:gd name="connsiteX29" fmla="*/ 2279650 w 4570627"/>
                <a:gd name="connsiteY29" fmla="*/ 184150 h 4947372"/>
                <a:gd name="connsiteX30" fmla="*/ 2305050 w 4570627"/>
                <a:gd name="connsiteY30" fmla="*/ 279400 h 4947372"/>
                <a:gd name="connsiteX31" fmla="*/ 2374900 w 4570627"/>
                <a:gd name="connsiteY31" fmla="*/ 342900 h 4947372"/>
                <a:gd name="connsiteX32" fmla="*/ 2381250 w 4570627"/>
                <a:gd name="connsiteY32" fmla="*/ 406400 h 4947372"/>
                <a:gd name="connsiteX33" fmla="*/ 2514600 w 4570627"/>
                <a:gd name="connsiteY33" fmla="*/ 355600 h 4947372"/>
                <a:gd name="connsiteX34" fmla="*/ 2641600 w 4570627"/>
                <a:gd name="connsiteY34" fmla="*/ 330200 h 4947372"/>
                <a:gd name="connsiteX35" fmla="*/ 2686050 w 4570627"/>
                <a:gd name="connsiteY35" fmla="*/ 368300 h 4947372"/>
                <a:gd name="connsiteX36" fmla="*/ 2774950 w 4570627"/>
                <a:gd name="connsiteY36" fmla="*/ 317500 h 4947372"/>
                <a:gd name="connsiteX37" fmla="*/ 2796953 w 4570627"/>
                <a:gd name="connsiteY37" fmla="*/ 319596 h 4947372"/>
                <a:gd name="connsiteX38" fmla="*/ 2787650 w 4570627"/>
                <a:gd name="connsiteY38" fmla="*/ 298452 h 4947372"/>
                <a:gd name="connsiteX39" fmla="*/ 2857500 w 4570627"/>
                <a:gd name="connsiteY39" fmla="*/ 457201 h 4947372"/>
                <a:gd name="connsiteX40" fmla="*/ 2971800 w 4570627"/>
                <a:gd name="connsiteY40" fmla="*/ 482601 h 4947372"/>
                <a:gd name="connsiteX41" fmla="*/ 3054350 w 4570627"/>
                <a:gd name="connsiteY41" fmla="*/ 501651 h 4947372"/>
                <a:gd name="connsiteX42" fmla="*/ 3093057 w 4570627"/>
                <a:gd name="connsiteY42" fmla="*/ 656481 h 4947372"/>
                <a:gd name="connsiteX43" fmla="*/ 3011086 w 4570627"/>
                <a:gd name="connsiteY43" fmla="*/ 537623 h 4947372"/>
                <a:gd name="connsiteX44" fmla="*/ 2924805 w 4570627"/>
                <a:gd name="connsiteY44" fmla="*/ 623904 h 4947372"/>
                <a:gd name="connsiteX45" fmla="*/ 3026774 w 4570627"/>
                <a:gd name="connsiteY45" fmla="*/ 733716 h 4947372"/>
                <a:gd name="connsiteX46" fmla="*/ 3050305 w 4570627"/>
                <a:gd name="connsiteY46" fmla="*/ 906278 h 4947372"/>
                <a:gd name="connsiteX47" fmla="*/ 3348367 w 4570627"/>
                <a:gd name="connsiteY47" fmla="*/ 1078841 h 4947372"/>
                <a:gd name="connsiteX48" fmla="*/ 3411117 w 4570627"/>
                <a:gd name="connsiteY48" fmla="*/ 1188653 h 4947372"/>
                <a:gd name="connsiteX49" fmla="*/ 3262086 w 4570627"/>
                <a:gd name="connsiteY49" fmla="*/ 1369059 h 4947372"/>
                <a:gd name="connsiteX50" fmla="*/ 3395429 w 4570627"/>
                <a:gd name="connsiteY50" fmla="*/ 1612215 h 4947372"/>
                <a:gd name="connsiteX51" fmla="*/ 3489554 w 4570627"/>
                <a:gd name="connsiteY51" fmla="*/ 1894589 h 4947372"/>
                <a:gd name="connsiteX52" fmla="*/ 3638585 w 4570627"/>
                <a:gd name="connsiteY52" fmla="*/ 2059308 h 4947372"/>
                <a:gd name="connsiteX53" fmla="*/ 3756241 w 4570627"/>
                <a:gd name="connsiteY53" fmla="*/ 1965183 h 4947372"/>
                <a:gd name="connsiteX54" fmla="*/ 3905271 w 4570627"/>
                <a:gd name="connsiteY54" fmla="*/ 2208339 h 4947372"/>
                <a:gd name="connsiteX55" fmla="*/ 4007240 w 4570627"/>
                <a:gd name="connsiteY55" fmla="*/ 2325995 h 4947372"/>
                <a:gd name="connsiteX56" fmla="*/ 4124896 w 4570627"/>
                <a:gd name="connsiteY56" fmla="*/ 2325995 h 4947372"/>
                <a:gd name="connsiteX57" fmla="*/ 4328833 w 4570627"/>
                <a:gd name="connsiteY57" fmla="*/ 2608369 h 4947372"/>
                <a:gd name="connsiteX58" fmla="*/ 4446489 w 4570627"/>
                <a:gd name="connsiteY58" fmla="*/ 2592682 h 4947372"/>
                <a:gd name="connsiteX59" fmla="*/ 4564145 w 4570627"/>
                <a:gd name="connsiteY59" fmla="*/ 2718182 h 4947372"/>
                <a:gd name="connsiteX60" fmla="*/ 4570627 w 4570627"/>
                <a:gd name="connsiteY60" fmla="*/ 2728182 h 4947372"/>
                <a:gd name="connsiteX61" fmla="*/ 4493946 w 4570627"/>
                <a:gd name="connsiteY61" fmla="*/ 3096250 h 4947372"/>
                <a:gd name="connsiteX62" fmla="*/ 4274322 w 4570627"/>
                <a:gd name="connsiteY62" fmla="*/ 3111937 h 4947372"/>
                <a:gd name="connsiteX63" fmla="*/ 4180197 w 4570627"/>
                <a:gd name="connsiteY63" fmla="*/ 3441374 h 4947372"/>
                <a:gd name="connsiteX64" fmla="*/ 3819386 w 4570627"/>
                <a:gd name="connsiteY64" fmla="*/ 3566874 h 4947372"/>
                <a:gd name="connsiteX65" fmla="*/ 3552699 w 4570627"/>
                <a:gd name="connsiteY65" fmla="*/ 3723749 h 4947372"/>
                <a:gd name="connsiteX66" fmla="*/ 3552699 w 4570627"/>
                <a:gd name="connsiteY66" fmla="*/ 3833561 h 4947372"/>
                <a:gd name="connsiteX67" fmla="*/ 3788011 w 4570627"/>
                <a:gd name="connsiteY67" fmla="*/ 4037498 h 4947372"/>
                <a:gd name="connsiteX68" fmla="*/ 3772323 w 4570627"/>
                <a:gd name="connsiteY68" fmla="*/ 4257123 h 4947372"/>
                <a:gd name="connsiteX69" fmla="*/ 3866448 w 4570627"/>
                <a:gd name="connsiteY69" fmla="*/ 4366935 h 4947372"/>
                <a:gd name="connsiteX70" fmla="*/ 3897823 w 4570627"/>
                <a:gd name="connsiteY70" fmla="*/ 4602248 h 4947372"/>
                <a:gd name="connsiteX71" fmla="*/ 3819386 w 4570627"/>
                <a:gd name="connsiteY71" fmla="*/ 4712060 h 4947372"/>
                <a:gd name="connsiteX72" fmla="*/ 3662511 w 4570627"/>
                <a:gd name="connsiteY72" fmla="*/ 4633622 h 4947372"/>
                <a:gd name="connsiteX73" fmla="*/ 3615449 w 4570627"/>
                <a:gd name="connsiteY73" fmla="*/ 4555185 h 4947372"/>
                <a:gd name="connsiteX74" fmla="*/ 3615449 w 4570627"/>
                <a:gd name="connsiteY74" fmla="*/ 4413998 h 4947372"/>
                <a:gd name="connsiteX75" fmla="*/ 3458574 w 4570627"/>
                <a:gd name="connsiteY75" fmla="*/ 4351248 h 4947372"/>
                <a:gd name="connsiteX76" fmla="*/ 3395824 w 4570627"/>
                <a:gd name="connsiteY76" fmla="*/ 4476748 h 4947372"/>
                <a:gd name="connsiteX77" fmla="*/ 3160513 w 4570627"/>
                <a:gd name="connsiteY77" fmla="*/ 4398310 h 4947372"/>
                <a:gd name="connsiteX78" fmla="*/ 3144825 w 4570627"/>
                <a:gd name="connsiteY78" fmla="*/ 4335560 h 4947372"/>
                <a:gd name="connsiteX79" fmla="*/ 2940888 w 4570627"/>
                <a:gd name="connsiteY79" fmla="*/ 4413998 h 4947372"/>
                <a:gd name="connsiteX80" fmla="*/ 2831076 w 4570627"/>
                <a:gd name="connsiteY80" fmla="*/ 4523810 h 4947372"/>
                <a:gd name="connsiteX81" fmla="*/ 2564389 w 4570627"/>
                <a:gd name="connsiteY81" fmla="*/ 4555185 h 4947372"/>
                <a:gd name="connsiteX82" fmla="*/ 2329077 w 4570627"/>
                <a:gd name="connsiteY82" fmla="*/ 4570873 h 4947372"/>
                <a:gd name="connsiteX83" fmla="*/ 2125140 w 4570627"/>
                <a:gd name="connsiteY83" fmla="*/ 4759122 h 4947372"/>
                <a:gd name="connsiteX84" fmla="*/ 1936891 w 4570627"/>
                <a:gd name="connsiteY84" fmla="*/ 4806185 h 4947372"/>
                <a:gd name="connsiteX85" fmla="*/ 1717266 w 4570627"/>
                <a:gd name="connsiteY85" fmla="*/ 4696372 h 4947372"/>
                <a:gd name="connsiteX86" fmla="*/ 1701579 w 4570627"/>
                <a:gd name="connsiteY86" fmla="*/ 4570873 h 4947372"/>
                <a:gd name="connsiteX87" fmla="*/ 1576079 w 4570627"/>
                <a:gd name="connsiteY87" fmla="*/ 4523810 h 4947372"/>
                <a:gd name="connsiteX88" fmla="*/ 1419205 w 4570627"/>
                <a:gd name="connsiteY88" fmla="*/ 4523810 h 4947372"/>
                <a:gd name="connsiteX89" fmla="*/ 1340768 w 4570627"/>
                <a:gd name="connsiteY89" fmla="*/ 4617935 h 4947372"/>
                <a:gd name="connsiteX90" fmla="*/ 1309393 w 4570627"/>
                <a:gd name="connsiteY90" fmla="*/ 4774810 h 4947372"/>
                <a:gd name="connsiteX91" fmla="*/ 1246643 w 4570627"/>
                <a:gd name="connsiteY91" fmla="*/ 4868935 h 4947372"/>
                <a:gd name="connsiteX92" fmla="*/ 1152518 w 4570627"/>
                <a:gd name="connsiteY92" fmla="*/ 4947372 h 4947372"/>
                <a:gd name="connsiteX93" fmla="*/ 964268 w 4570627"/>
                <a:gd name="connsiteY93" fmla="*/ 4900310 h 4947372"/>
                <a:gd name="connsiteX94" fmla="*/ 948581 w 4570627"/>
                <a:gd name="connsiteY94" fmla="*/ 4633622 h 4947372"/>
                <a:gd name="connsiteX95" fmla="*/ 807394 w 4570627"/>
                <a:gd name="connsiteY95" fmla="*/ 4539498 h 4947372"/>
                <a:gd name="connsiteX96" fmla="*/ 773692 w 4570627"/>
                <a:gd name="connsiteY96" fmla="*/ 4539498 h 4947372"/>
                <a:gd name="connsiteX97" fmla="*/ 802640 w 4570627"/>
                <a:gd name="connsiteY97" fmla="*/ 4488180 h 4947372"/>
                <a:gd name="connsiteX98" fmla="*/ 894080 w 4570627"/>
                <a:gd name="connsiteY98" fmla="*/ 4389120 h 4947372"/>
                <a:gd name="connsiteX99" fmla="*/ 1122680 w 4570627"/>
                <a:gd name="connsiteY99" fmla="*/ 4419600 h 4947372"/>
                <a:gd name="connsiteX100" fmla="*/ 1168400 w 4570627"/>
                <a:gd name="connsiteY100" fmla="*/ 4351020 h 4947372"/>
                <a:gd name="connsiteX101" fmla="*/ 1122680 w 4570627"/>
                <a:gd name="connsiteY101" fmla="*/ 4221480 h 4947372"/>
                <a:gd name="connsiteX102" fmla="*/ 1160780 w 4570627"/>
                <a:gd name="connsiteY102" fmla="*/ 4168140 h 4947372"/>
                <a:gd name="connsiteX103" fmla="*/ 1130300 w 4570627"/>
                <a:gd name="connsiteY103" fmla="*/ 4076700 h 4947372"/>
                <a:gd name="connsiteX104" fmla="*/ 1160780 w 4570627"/>
                <a:gd name="connsiteY104" fmla="*/ 3756660 h 4947372"/>
                <a:gd name="connsiteX105" fmla="*/ 1038860 w 4570627"/>
                <a:gd name="connsiteY105" fmla="*/ 3345180 h 4947372"/>
                <a:gd name="connsiteX106" fmla="*/ 1130300 w 4570627"/>
                <a:gd name="connsiteY106" fmla="*/ 3185160 h 4947372"/>
                <a:gd name="connsiteX107" fmla="*/ 1183640 w 4570627"/>
                <a:gd name="connsiteY107" fmla="*/ 3223260 h 4947372"/>
                <a:gd name="connsiteX108" fmla="*/ 1336040 w 4570627"/>
                <a:gd name="connsiteY108" fmla="*/ 3124200 h 4947372"/>
                <a:gd name="connsiteX109" fmla="*/ 1351280 w 4570627"/>
                <a:gd name="connsiteY109" fmla="*/ 2994660 h 4947372"/>
                <a:gd name="connsiteX110" fmla="*/ 1290320 w 4570627"/>
                <a:gd name="connsiteY110" fmla="*/ 2918460 h 4947372"/>
                <a:gd name="connsiteX111" fmla="*/ 1290320 w 4570627"/>
                <a:gd name="connsiteY111" fmla="*/ 2872740 h 4947372"/>
                <a:gd name="connsiteX112" fmla="*/ 1366520 w 4570627"/>
                <a:gd name="connsiteY112" fmla="*/ 2872740 h 4947372"/>
                <a:gd name="connsiteX113" fmla="*/ 1389380 w 4570627"/>
                <a:gd name="connsiteY113" fmla="*/ 2918460 h 4947372"/>
                <a:gd name="connsiteX114" fmla="*/ 1518920 w 4570627"/>
                <a:gd name="connsiteY114" fmla="*/ 2887980 h 4947372"/>
                <a:gd name="connsiteX115" fmla="*/ 1503680 w 4570627"/>
                <a:gd name="connsiteY115" fmla="*/ 2796540 h 4947372"/>
                <a:gd name="connsiteX116" fmla="*/ 1450340 w 4570627"/>
                <a:gd name="connsiteY116" fmla="*/ 2735580 h 4947372"/>
                <a:gd name="connsiteX117" fmla="*/ 1488440 w 4570627"/>
                <a:gd name="connsiteY117" fmla="*/ 2522220 h 4947372"/>
                <a:gd name="connsiteX118" fmla="*/ 1389380 w 4570627"/>
                <a:gd name="connsiteY118" fmla="*/ 2369820 h 4947372"/>
                <a:gd name="connsiteX119" fmla="*/ 1297940 w 4570627"/>
                <a:gd name="connsiteY119" fmla="*/ 2354580 h 4947372"/>
                <a:gd name="connsiteX120" fmla="*/ 1244600 w 4570627"/>
                <a:gd name="connsiteY120" fmla="*/ 2255520 h 4947372"/>
                <a:gd name="connsiteX121" fmla="*/ 1282700 w 4570627"/>
                <a:gd name="connsiteY121" fmla="*/ 2202180 h 4947372"/>
                <a:gd name="connsiteX122" fmla="*/ 1183640 w 4570627"/>
                <a:gd name="connsiteY122" fmla="*/ 2095500 h 4947372"/>
                <a:gd name="connsiteX123" fmla="*/ 1168400 w 4570627"/>
                <a:gd name="connsiteY123" fmla="*/ 1996440 h 4947372"/>
                <a:gd name="connsiteX124" fmla="*/ 1183640 w 4570627"/>
                <a:gd name="connsiteY124" fmla="*/ 1965960 h 4947372"/>
                <a:gd name="connsiteX125" fmla="*/ 1153160 w 4570627"/>
                <a:gd name="connsiteY125" fmla="*/ 1836420 h 4947372"/>
                <a:gd name="connsiteX126" fmla="*/ 1176020 w 4570627"/>
                <a:gd name="connsiteY126" fmla="*/ 1821180 h 4947372"/>
                <a:gd name="connsiteX127" fmla="*/ 1145540 w 4570627"/>
                <a:gd name="connsiteY127" fmla="*/ 1607820 h 4947372"/>
                <a:gd name="connsiteX128" fmla="*/ 1099820 w 4570627"/>
                <a:gd name="connsiteY128" fmla="*/ 1569720 h 4947372"/>
                <a:gd name="connsiteX129" fmla="*/ 1076960 w 4570627"/>
                <a:gd name="connsiteY129" fmla="*/ 1592580 h 4947372"/>
                <a:gd name="connsiteX130" fmla="*/ 1069340 w 4570627"/>
                <a:gd name="connsiteY130" fmla="*/ 1661160 h 4947372"/>
                <a:gd name="connsiteX131" fmla="*/ 970280 w 4570627"/>
                <a:gd name="connsiteY131" fmla="*/ 1668780 h 4947372"/>
                <a:gd name="connsiteX132" fmla="*/ 932180 w 4570627"/>
                <a:gd name="connsiteY132" fmla="*/ 1524000 h 4947372"/>
                <a:gd name="connsiteX133" fmla="*/ 871220 w 4570627"/>
                <a:gd name="connsiteY133" fmla="*/ 1569720 h 4947372"/>
                <a:gd name="connsiteX134" fmla="*/ 855980 w 4570627"/>
                <a:gd name="connsiteY134" fmla="*/ 1524000 h 4947372"/>
                <a:gd name="connsiteX135" fmla="*/ 924560 w 4570627"/>
                <a:gd name="connsiteY135" fmla="*/ 1463040 h 4947372"/>
                <a:gd name="connsiteX136" fmla="*/ 855980 w 4570627"/>
                <a:gd name="connsiteY136" fmla="*/ 1333500 h 4947372"/>
                <a:gd name="connsiteX137" fmla="*/ 825500 w 4570627"/>
                <a:gd name="connsiteY137" fmla="*/ 1280160 h 4947372"/>
                <a:gd name="connsiteX138" fmla="*/ 787400 w 4570627"/>
                <a:gd name="connsiteY138" fmla="*/ 1379220 h 4947372"/>
                <a:gd name="connsiteX139" fmla="*/ 772160 w 4570627"/>
                <a:gd name="connsiteY139" fmla="*/ 1318260 h 4947372"/>
                <a:gd name="connsiteX140" fmla="*/ 688340 w 4570627"/>
                <a:gd name="connsiteY140" fmla="*/ 1371600 h 4947372"/>
                <a:gd name="connsiteX141" fmla="*/ 695960 w 4570627"/>
                <a:gd name="connsiteY141" fmla="*/ 1226820 h 4947372"/>
                <a:gd name="connsiteX142" fmla="*/ 497840 w 4570627"/>
                <a:gd name="connsiteY142" fmla="*/ 1211580 h 4947372"/>
                <a:gd name="connsiteX143" fmla="*/ 353060 w 4570627"/>
                <a:gd name="connsiteY143" fmla="*/ 1264920 h 4947372"/>
                <a:gd name="connsiteX144" fmla="*/ 467360 w 4570627"/>
                <a:gd name="connsiteY144" fmla="*/ 1325880 h 4947372"/>
                <a:gd name="connsiteX145" fmla="*/ 474980 w 4570627"/>
                <a:gd name="connsiteY145" fmla="*/ 1402080 h 4947372"/>
                <a:gd name="connsiteX146" fmla="*/ 391160 w 4570627"/>
                <a:gd name="connsiteY146" fmla="*/ 1402080 h 4947372"/>
                <a:gd name="connsiteX147" fmla="*/ 360680 w 4570627"/>
                <a:gd name="connsiteY147" fmla="*/ 1501140 h 4947372"/>
                <a:gd name="connsiteX148" fmla="*/ 132080 w 4570627"/>
                <a:gd name="connsiteY148" fmla="*/ 1516380 h 4947372"/>
                <a:gd name="connsiteX149" fmla="*/ 69850 w 4570627"/>
                <a:gd name="connsiteY149" fmla="*/ 1483191 h 4947372"/>
                <a:gd name="connsiteX150" fmla="*/ 69850 w 4570627"/>
                <a:gd name="connsiteY150" fmla="*/ 1384300 h 4947372"/>
                <a:gd name="connsiteX151" fmla="*/ 146050 w 4570627"/>
                <a:gd name="connsiteY151" fmla="*/ 1244600 h 4947372"/>
                <a:gd name="connsiteX152" fmla="*/ 82550 w 4570627"/>
                <a:gd name="connsiteY152" fmla="*/ 1143000 h 4947372"/>
                <a:gd name="connsiteX153" fmla="*/ 25400 w 4570627"/>
                <a:gd name="connsiteY153" fmla="*/ 1117600 h 4947372"/>
                <a:gd name="connsiteX154" fmla="*/ 31750 w 4570627"/>
                <a:gd name="connsiteY154" fmla="*/ 901700 h 4947372"/>
                <a:gd name="connsiteX155" fmla="*/ 0 w 4570627"/>
                <a:gd name="connsiteY155" fmla="*/ 825500 h 4947372"/>
                <a:gd name="connsiteX156" fmla="*/ 0 w 4570627"/>
                <a:gd name="connsiteY156" fmla="*/ 723900 h 4947372"/>
                <a:gd name="connsiteX157" fmla="*/ 107950 w 4570627"/>
                <a:gd name="connsiteY157" fmla="*/ 704850 h 4947372"/>
                <a:gd name="connsiteX158" fmla="*/ 127000 w 4570627"/>
                <a:gd name="connsiteY158" fmla="*/ 755650 h 4947372"/>
                <a:gd name="connsiteX159" fmla="*/ 215900 w 4570627"/>
                <a:gd name="connsiteY159" fmla="*/ 698500 h 4947372"/>
                <a:gd name="connsiteX160" fmla="*/ 368300 w 4570627"/>
                <a:gd name="connsiteY160" fmla="*/ 698500 h 4947372"/>
                <a:gd name="connsiteX161" fmla="*/ 368300 w 4570627"/>
                <a:gd name="connsiteY161" fmla="*/ 749300 h 4947372"/>
                <a:gd name="connsiteX162" fmla="*/ 495300 w 4570627"/>
                <a:gd name="connsiteY162" fmla="*/ 749300 h 4947372"/>
                <a:gd name="connsiteX163" fmla="*/ 488950 w 4570627"/>
                <a:gd name="connsiteY163" fmla="*/ 660400 h 4947372"/>
                <a:gd name="connsiteX164" fmla="*/ 488950 w 4570627"/>
                <a:gd name="connsiteY164" fmla="*/ 552450 h 4947372"/>
                <a:gd name="connsiteX165" fmla="*/ 596900 w 4570627"/>
                <a:gd name="connsiteY165" fmla="*/ 565150 h 4947372"/>
                <a:gd name="connsiteX166" fmla="*/ 679450 w 4570627"/>
                <a:gd name="connsiteY166" fmla="*/ 463550 h 4947372"/>
                <a:gd name="connsiteX167" fmla="*/ 717550 w 4570627"/>
                <a:gd name="connsiteY167" fmla="*/ 260350 h 4947372"/>
                <a:gd name="connsiteX168" fmla="*/ 812800 w 4570627"/>
                <a:gd name="connsiteY168" fmla="*/ 311150 h 4947372"/>
                <a:gd name="connsiteX169" fmla="*/ 952500 w 4570627"/>
                <a:gd name="connsiteY169" fmla="*/ 215900 h 4947372"/>
                <a:gd name="connsiteX170" fmla="*/ 979517 w 4570627"/>
                <a:gd name="connsiteY170" fmla="*/ 175377 h 4947372"/>
                <a:gd name="connsiteX171" fmla="*/ 977900 w 4570627"/>
                <a:gd name="connsiteY171" fmla="*/ 222250 h 4947372"/>
                <a:gd name="connsiteX172" fmla="*/ 1060450 w 4570627"/>
                <a:gd name="connsiteY172" fmla="*/ 127000 h 4947372"/>
                <a:gd name="connsiteX173" fmla="*/ 1022350 w 4570627"/>
                <a:gd name="connsiteY173" fmla="*/ 1 h 4947372"/>
                <a:gd name="connsiteX174" fmla="*/ 1022350 w 4570627"/>
                <a:gd name="connsiteY174" fmla="*/ 0 h 4947372"/>
                <a:gd name="connsiteX175" fmla="*/ 1022350 w 4570627"/>
                <a:gd name="connsiteY175" fmla="*/ 1 h 4947372"/>
                <a:gd name="connsiteX0" fmla="*/ 555179 w 4570627"/>
                <a:gd name="connsiteY0" fmla="*/ 4491435 h 4820372"/>
                <a:gd name="connsiteX1" fmla="*/ 555179 w 4570627"/>
                <a:gd name="connsiteY1" fmla="*/ 4491435 h 4820372"/>
                <a:gd name="connsiteX2" fmla="*/ 546724 w 4570627"/>
                <a:gd name="connsiteY2" fmla="*/ 4516035 h 4820372"/>
                <a:gd name="connsiteX3" fmla="*/ 546723 w 4570627"/>
                <a:gd name="connsiteY3" fmla="*/ 4516035 h 4820372"/>
                <a:gd name="connsiteX4" fmla="*/ 555179 w 4570627"/>
                <a:gd name="connsiteY4" fmla="*/ 4491435 h 4820372"/>
                <a:gd name="connsiteX5" fmla="*/ 1060450 w 4570627"/>
                <a:gd name="connsiteY5" fmla="*/ 0 h 4820372"/>
                <a:gd name="connsiteX6" fmla="*/ 1149350 w 4570627"/>
                <a:gd name="connsiteY6" fmla="*/ 38100 h 4820372"/>
                <a:gd name="connsiteX7" fmla="*/ 1263650 w 4570627"/>
                <a:gd name="connsiteY7" fmla="*/ 114300 h 4820372"/>
                <a:gd name="connsiteX8" fmla="*/ 1320800 w 4570627"/>
                <a:gd name="connsiteY8" fmla="*/ 234950 h 4820372"/>
                <a:gd name="connsiteX9" fmla="*/ 1371600 w 4570627"/>
                <a:gd name="connsiteY9" fmla="*/ 215900 h 4820372"/>
                <a:gd name="connsiteX10" fmla="*/ 1479550 w 4570627"/>
                <a:gd name="connsiteY10" fmla="*/ 323850 h 4820372"/>
                <a:gd name="connsiteX11" fmla="*/ 1530350 w 4570627"/>
                <a:gd name="connsiteY11" fmla="*/ 488950 h 4820372"/>
                <a:gd name="connsiteX12" fmla="*/ 1612900 w 4570627"/>
                <a:gd name="connsiteY12" fmla="*/ 533400 h 4820372"/>
                <a:gd name="connsiteX13" fmla="*/ 1638300 w 4570627"/>
                <a:gd name="connsiteY13" fmla="*/ 463550 h 4820372"/>
                <a:gd name="connsiteX14" fmla="*/ 1739900 w 4570627"/>
                <a:gd name="connsiteY14" fmla="*/ 469900 h 4820372"/>
                <a:gd name="connsiteX15" fmla="*/ 1746250 w 4570627"/>
                <a:gd name="connsiteY15" fmla="*/ 419100 h 4820372"/>
                <a:gd name="connsiteX16" fmla="*/ 1689100 w 4570627"/>
                <a:gd name="connsiteY16" fmla="*/ 387350 h 4820372"/>
                <a:gd name="connsiteX17" fmla="*/ 1638300 w 4570627"/>
                <a:gd name="connsiteY17" fmla="*/ 342900 h 4820372"/>
                <a:gd name="connsiteX18" fmla="*/ 1625600 w 4570627"/>
                <a:gd name="connsiteY18" fmla="*/ 292100 h 4820372"/>
                <a:gd name="connsiteX19" fmla="*/ 1778000 w 4570627"/>
                <a:gd name="connsiteY19" fmla="*/ 234950 h 4820372"/>
                <a:gd name="connsiteX20" fmla="*/ 1879600 w 4570627"/>
                <a:gd name="connsiteY20" fmla="*/ 247650 h 4820372"/>
                <a:gd name="connsiteX21" fmla="*/ 1873250 w 4570627"/>
                <a:gd name="connsiteY21" fmla="*/ 311150 h 4820372"/>
                <a:gd name="connsiteX22" fmla="*/ 1981200 w 4570627"/>
                <a:gd name="connsiteY22" fmla="*/ 304800 h 4820372"/>
                <a:gd name="connsiteX23" fmla="*/ 2006600 w 4570627"/>
                <a:gd name="connsiteY23" fmla="*/ 304800 h 4820372"/>
                <a:gd name="connsiteX24" fmla="*/ 2032000 w 4570627"/>
                <a:gd name="connsiteY24" fmla="*/ 406400 h 4820372"/>
                <a:gd name="connsiteX25" fmla="*/ 2133600 w 4570627"/>
                <a:gd name="connsiteY25" fmla="*/ 419100 h 4820372"/>
                <a:gd name="connsiteX26" fmla="*/ 2171700 w 4570627"/>
                <a:gd name="connsiteY26" fmla="*/ 285750 h 4820372"/>
                <a:gd name="connsiteX27" fmla="*/ 2146300 w 4570627"/>
                <a:gd name="connsiteY27" fmla="*/ 146050 h 4820372"/>
                <a:gd name="connsiteX28" fmla="*/ 2216150 w 4570627"/>
                <a:gd name="connsiteY28" fmla="*/ 63500 h 4820372"/>
                <a:gd name="connsiteX29" fmla="*/ 2279650 w 4570627"/>
                <a:gd name="connsiteY29" fmla="*/ 57150 h 4820372"/>
                <a:gd name="connsiteX30" fmla="*/ 2305050 w 4570627"/>
                <a:gd name="connsiteY30" fmla="*/ 152400 h 4820372"/>
                <a:gd name="connsiteX31" fmla="*/ 2374900 w 4570627"/>
                <a:gd name="connsiteY31" fmla="*/ 215900 h 4820372"/>
                <a:gd name="connsiteX32" fmla="*/ 2381250 w 4570627"/>
                <a:gd name="connsiteY32" fmla="*/ 279400 h 4820372"/>
                <a:gd name="connsiteX33" fmla="*/ 2514600 w 4570627"/>
                <a:gd name="connsiteY33" fmla="*/ 228600 h 4820372"/>
                <a:gd name="connsiteX34" fmla="*/ 2641600 w 4570627"/>
                <a:gd name="connsiteY34" fmla="*/ 203200 h 4820372"/>
                <a:gd name="connsiteX35" fmla="*/ 2686050 w 4570627"/>
                <a:gd name="connsiteY35" fmla="*/ 241300 h 4820372"/>
                <a:gd name="connsiteX36" fmla="*/ 2774950 w 4570627"/>
                <a:gd name="connsiteY36" fmla="*/ 190500 h 4820372"/>
                <a:gd name="connsiteX37" fmla="*/ 2796953 w 4570627"/>
                <a:gd name="connsiteY37" fmla="*/ 192596 h 4820372"/>
                <a:gd name="connsiteX38" fmla="*/ 2787650 w 4570627"/>
                <a:gd name="connsiteY38" fmla="*/ 171452 h 4820372"/>
                <a:gd name="connsiteX39" fmla="*/ 2857500 w 4570627"/>
                <a:gd name="connsiteY39" fmla="*/ 330201 h 4820372"/>
                <a:gd name="connsiteX40" fmla="*/ 2971800 w 4570627"/>
                <a:gd name="connsiteY40" fmla="*/ 355601 h 4820372"/>
                <a:gd name="connsiteX41" fmla="*/ 3054350 w 4570627"/>
                <a:gd name="connsiteY41" fmla="*/ 374651 h 4820372"/>
                <a:gd name="connsiteX42" fmla="*/ 3093057 w 4570627"/>
                <a:gd name="connsiteY42" fmla="*/ 529481 h 4820372"/>
                <a:gd name="connsiteX43" fmla="*/ 3011086 w 4570627"/>
                <a:gd name="connsiteY43" fmla="*/ 410623 h 4820372"/>
                <a:gd name="connsiteX44" fmla="*/ 2924805 w 4570627"/>
                <a:gd name="connsiteY44" fmla="*/ 496904 h 4820372"/>
                <a:gd name="connsiteX45" fmla="*/ 3026774 w 4570627"/>
                <a:gd name="connsiteY45" fmla="*/ 606716 h 4820372"/>
                <a:gd name="connsiteX46" fmla="*/ 3050305 w 4570627"/>
                <a:gd name="connsiteY46" fmla="*/ 779278 h 4820372"/>
                <a:gd name="connsiteX47" fmla="*/ 3348367 w 4570627"/>
                <a:gd name="connsiteY47" fmla="*/ 951841 h 4820372"/>
                <a:gd name="connsiteX48" fmla="*/ 3411117 w 4570627"/>
                <a:gd name="connsiteY48" fmla="*/ 1061653 h 4820372"/>
                <a:gd name="connsiteX49" fmla="*/ 3262086 w 4570627"/>
                <a:gd name="connsiteY49" fmla="*/ 1242059 h 4820372"/>
                <a:gd name="connsiteX50" fmla="*/ 3395429 w 4570627"/>
                <a:gd name="connsiteY50" fmla="*/ 1485215 h 4820372"/>
                <a:gd name="connsiteX51" fmla="*/ 3489554 w 4570627"/>
                <a:gd name="connsiteY51" fmla="*/ 1767589 h 4820372"/>
                <a:gd name="connsiteX52" fmla="*/ 3638585 w 4570627"/>
                <a:gd name="connsiteY52" fmla="*/ 1932308 h 4820372"/>
                <a:gd name="connsiteX53" fmla="*/ 3756241 w 4570627"/>
                <a:gd name="connsiteY53" fmla="*/ 1838183 h 4820372"/>
                <a:gd name="connsiteX54" fmla="*/ 3905271 w 4570627"/>
                <a:gd name="connsiteY54" fmla="*/ 2081339 h 4820372"/>
                <a:gd name="connsiteX55" fmla="*/ 4007240 w 4570627"/>
                <a:gd name="connsiteY55" fmla="*/ 2198995 h 4820372"/>
                <a:gd name="connsiteX56" fmla="*/ 4124896 w 4570627"/>
                <a:gd name="connsiteY56" fmla="*/ 2198995 h 4820372"/>
                <a:gd name="connsiteX57" fmla="*/ 4328833 w 4570627"/>
                <a:gd name="connsiteY57" fmla="*/ 2481369 h 4820372"/>
                <a:gd name="connsiteX58" fmla="*/ 4446489 w 4570627"/>
                <a:gd name="connsiteY58" fmla="*/ 2465682 h 4820372"/>
                <a:gd name="connsiteX59" fmla="*/ 4564145 w 4570627"/>
                <a:gd name="connsiteY59" fmla="*/ 2591182 h 4820372"/>
                <a:gd name="connsiteX60" fmla="*/ 4570627 w 4570627"/>
                <a:gd name="connsiteY60" fmla="*/ 2601182 h 4820372"/>
                <a:gd name="connsiteX61" fmla="*/ 4493946 w 4570627"/>
                <a:gd name="connsiteY61" fmla="*/ 2969250 h 4820372"/>
                <a:gd name="connsiteX62" fmla="*/ 4274322 w 4570627"/>
                <a:gd name="connsiteY62" fmla="*/ 2984937 h 4820372"/>
                <a:gd name="connsiteX63" fmla="*/ 4180197 w 4570627"/>
                <a:gd name="connsiteY63" fmla="*/ 3314374 h 4820372"/>
                <a:gd name="connsiteX64" fmla="*/ 3819386 w 4570627"/>
                <a:gd name="connsiteY64" fmla="*/ 3439874 h 4820372"/>
                <a:gd name="connsiteX65" fmla="*/ 3552699 w 4570627"/>
                <a:gd name="connsiteY65" fmla="*/ 3596749 h 4820372"/>
                <a:gd name="connsiteX66" fmla="*/ 3552699 w 4570627"/>
                <a:gd name="connsiteY66" fmla="*/ 3706561 h 4820372"/>
                <a:gd name="connsiteX67" fmla="*/ 3788011 w 4570627"/>
                <a:gd name="connsiteY67" fmla="*/ 3910498 h 4820372"/>
                <a:gd name="connsiteX68" fmla="*/ 3772323 w 4570627"/>
                <a:gd name="connsiteY68" fmla="*/ 4130123 h 4820372"/>
                <a:gd name="connsiteX69" fmla="*/ 3866448 w 4570627"/>
                <a:gd name="connsiteY69" fmla="*/ 4239935 h 4820372"/>
                <a:gd name="connsiteX70" fmla="*/ 3897823 w 4570627"/>
                <a:gd name="connsiteY70" fmla="*/ 4475248 h 4820372"/>
                <a:gd name="connsiteX71" fmla="*/ 3819386 w 4570627"/>
                <a:gd name="connsiteY71" fmla="*/ 4585060 h 4820372"/>
                <a:gd name="connsiteX72" fmla="*/ 3662511 w 4570627"/>
                <a:gd name="connsiteY72" fmla="*/ 4506622 h 4820372"/>
                <a:gd name="connsiteX73" fmla="*/ 3615449 w 4570627"/>
                <a:gd name="connsiteY73" fmla="*/ 4428185 h 4820372"/>
                <a:gd name="connsiteX74" fmla="*/ 3615449 w 4570627"/>
                <a:gd name="connsiteY74" fmla="*/ 4286998 h 4820372"/>
                <a:gd name="connsiteX75" fmla="*/ 3458574 w 4570627"/>
                <a:gd name="connsiteY75" fmla="*/ 4224248 h 4820372"/>
                <a:gd name="connsiteX76" fmla="*/ 3395824 w 4570627"/>
                <a:gd name="connsiteY76" fmla="*/ 4349748 h 4820372"/>
                <a:gd name="connsiteX77" fmla="*/ 3160513 w 4570627"/>
                <a:gd name="connsiteY77" fmla="*/ 4271310 h 4820372"/>
                <a:gd name="connsiteX78" fmla="*/ 3144825 w 4570627"/>
                <a:gd name="connsiteY78" fmla="*/ 4208560 h 4820372"/>
                <a:gd name="connsiteX79" fmla="*/ 2940888 w 4570627"/>
                <a:gd name="connsiteY79" fmla="*/ 4286998 h 4820372"/>
                <a:gd name="connsiteX80" fmla="*/ 2831076 w 4570627"/>
                <a:gd name="connsiteY80" fmla="*/ 4396810 h 4820372"/>
                <a:gd name="connsiteX81" fmla="*/ 2564389 w 4570627"/>
                <a:gd name="connsiteY81" fmla="*/ 4428185 h 4820372"/>
                <a:gd name="connsiteX82" fmla="*/ 2329077 w 4570627"/>
                <a:gd name="connsiteY82" fmla="*/ 4443873 h 4820372"/>
                <a:gd name="connsiteX83" fmla="*/ 2125140 w 4570627"/>
                <a:gd name="connsiteY83" fmla="*/ 4632122 h 4820372"/>
                <a:gd name="connsiteX84" fmla="*/ 1936891 w 4570627"/>
                <a:gd name="connsiteY84" fmla="*/ 4679185 h 4820372"/>
                <a:gd name="connsiteX85" fmla="*/ 1717266 w 4570627"/>
                <a:gd name="connsiteY85" fmla="*/ 4569372 h 4820372"/>
                <a:gd name="connsiteX86" fmla="*/ 1701579 w 4570627"/>
                <a:gd name="connsiteY86" fmla="*/ 4443873 h 4820372"/>
                <a:gd name="connsiteX87" fmla="*/ 1576079 w 4570627"/>
                <a:gd name="connsiteY87" fmla="*/ 4396810 h 4820372"/>
                <a:gd name="connsiteX88" fmla="*/ 1419205 w 4570627"/>
                <a:gd name="connsiteY88" fmla="*/ 4396810 h 4820372"/>
                <a:gd name="connsiteX89" fmla="*/ 1340768 w 4570627"/>
                <a:gd name="connsiteY89" fmla="*/ 4490935 h 4820372"/>
                <a:gd name="connsiteX90" fmla="*/ 1309393 w 4570627"/>
                <a:gd name="connsiteY90" fmla="*/ 4647810 h 4820372"/>
                <a:gd name="connsiteX91" fmla="*/ 1246643 w 4570627"/>
                <a:gd name="connsiteY91" fmla="*/ 4741935 h 4820372"/>
                <a:gd name="connsiteX92" fmla="*/ 1152518 w 4570627"/>
                <a:gd name="connsiteY92" fmla="*/ 4820372 h 4820372"/>
                <a:gd name="connsiteX93" fmla="*/ 964268 w 4570627"/>
                <a:gd name="connsiteY93" fmla="*/ 4773310 h 4820372"/>
                <a:gd name="connsiteX94" fmla="*/ 948581 w 4570627"/>
                <a:gd name="connsiteY94" fmla="*/ 4506622 h 4820372"/>
                <a:gd name="connsiteX95" fmla="*/ 807394 w 4570627"/>
                <a:gd name="connsiteY95" fmla="*/ 4412498 h 4820372"/>
                <a:gd name="connsiteX96" fmla="*/ 773692 w 4570627"/>
                <a:gd name="connsiteY96" fmla="*/ 4412498 h 4820372"/>
                <a:gd name="connsiteX97" fmla="*/ 802640 w 4570627"/>
                <a:gd name="connsiteY97" fmla="*/ 4361180 h 4820372"/>
                <a:gd name="connsiteX98" fmla="*/ 894080 w 4570627"/>
                <a:gd name="connsiteY98" fmla="*/ 4262120 h 4820372"/>
                <a:gd name="connsiteX99" fmla="*/ 1122680 w 4570627"/>
                <a:gd name="connsiteY99" fmla="*/ 4292600 h 4820372"/>
                <a:gd name="connsiteX100" fmla="*/ 1168400 w 4570627"/>
                <a:gd name="connsiteY100" fmla="*/ 4224020 h 4820372"/>
                <a:gd name="connsiteX101" fmla="*/ 1122680 w 4570627"/>
                <a:gd name="connsiteY101" fmla="*/ 4094480 h 4820372"/>
                <a:gd name="connsiteX102" fmla="*/ 1160780 w 4570627"/>
                <a:gd name="connsiteY102" fmla="*/ 4041140 h 4820372"/>
                <a:gd name="connsiteX103" fmla="*/ 1130300 w 4570627"/>
                <a:gd name="connsiteY103" fmla="*/ 3949700 h 4820372"/>
                <a:gd name="connsiteX104" fmla="*/ 1160780 w 4570627"/>
                <a:gd name="connsiteY104" fmla="*/ 3629660 h 4820372"/>
                <a:gd name="connsiteX105" fmla="*/ 1038860 w 4570627"/>
                <a:gd name="connsiteY105" fmla="*/ 3218180 h 4820372"/>
                <a:gd name="connsiteX106" fmla="*/ 1130300 w 4570627"/>
                <a:gd name="connsiteY106" fmla="*/ 3058160 h 4820372"/>
                <a:gd name="connsiteX107" fmla="*/ 1183640 w 4570627"/>
                <a:gd name="connsiteY107" fmla="*/ 3096260 h 4820372"/>
                <a:gd name="connsiteX108" fmla="*/ 1336040 w 4570627"/>
                <a:gd name="connsiteY108" fmla="*/ 2997200 h 4820372"/>
                <a:gd name="connsiteX109" fmla="*/ 1351280 w 4570627"/>
                <a:gd name="connsiteY109" fmla="*/ 2867660 h 4820372"/>
                <a:gd name="connsiteX110" fmla="*/ 1290320 w 4570627"/>
                <a:gd name="connsiteY110" fmla="*/ 2791460 h 4820372"/>
                <a:gd name="connsiteX111" fmla="*/ 1290320 w 4570627"/>
                <a:gd name="connsiteY111" fmla="*/ 2745740 h 4820372"/>
                <a:gd name="connsiteX112" fmla="*/ 1366520 w 4570627"/>
                <a:gd name="connsiteY112" fmla="*/ 2745740 h 4820372"/>
                <a:gd name="connsiteX113" fmla="*/ 1389380 w 4570627"/>
                <a:gd name="connsiteY113" fmla="*/ 2791460 h 4820372"/>
                <a:gd name="connsiteX114" fmla="*/ 1518920 w 4570627"/>
                <a:gd name="connsiteY114" fmla="*/ 2760980 h 4820372"/>
                <a:gd name="connsiteX115" fmla="*/ 1503680 w 4570627"/>
                <a:gd name="connsiteY115" fmla="*/ 2669540 h 4820372"/>
                <a:gd name="connsiteX116" fmla="*/ 1450340 w 4570627"/>
                <a:gd name="connsiteY116" fmla="*/ 2608580 h 4820372"/>
                <a:gd name="connsiteX117" fmla="*/ 1488440 w 4570627"/>
                <a:gd name="connsiteY117" fmla="*/ 2395220 h 4820372"/>
                <a:gd name="connsiteX118" fmla="*/ 1389380 w 4570627"/>
                <a:gd name="connsiteY118" fmla="*/ 2242820 h 4820372"/>
                <a:gd name="connsiteX119" fmla="*/ 1297940 w 4570627"/>
                <a:gd name="connsiteY119" fmla="*/ 2227580 h 4820372"/>
                <a:gd name="connsiteX120" fmla="*/ 1244600 w 4570627"/>
                <a:gd name="connsiteY120" fmla="*/ 2128520 h 4820372"/>
                <a:gd name="connsiteX121" fmla="*/ 1282700 w 4570627"/>
                <a:gd name="connsiteY121" fmla="*/ 2075180 h 4820372"/>
                <a:gd name="connsiteX122" fmla="*/ 1183640 w 4570627"/>
                <a:gd name="connsiteY122" fmla="*/ 1968500 h 4820372"/>
                <a:gd name="connsiteX123" fmla="*/ 1168400 w 4570627"/>
                <a:gd name="connsiteY123" fmla="*/ 1869440 h 4820372"/>
                <a:gd name="connsiteX124" fmla="*/ 1183640 w 4570627"/>
                <a:gd name="connsiteY124" fmla="*/ 1838960 h 4820372"/>
                <a:gd name="connsiteX125" fmla="*/ 1153160 w 4570627"/>
                <a:gd name="connsiteY125" fmla="*/ 1709420 h 4820372"/>
                <a:gd name="connsiteX126" fmla="*/ 1176020 w 4570627"/>
                <a:gd name="connsiteY126" fmla="*/ 1694180 h 4820372"/>
                <a:gd name="connsiteX127" fmla="*/ 1145540 w 4570627"/>
                <a:gd name="connsiteY127" fmla="*/ 1480820 h 4820372"/>
                <a:gd name="connsiteX128" fmla="*/ 1099820 w 4570627"/>
                <a:gd name="connsiteY128" fmla="*/ 1442720 h 4820372"/>
                <a:gd name="connsiteX129" fmla="*/ 1076960 w 4570627"/>
                <a:gd name="connsiteY129" fmla="*/ 1465580 h 4820372"/>
                <a:gd name="connsiteX130" fmla="*/ 1069340 w 4570627"/>
                <a:gd name="connsiteY130" fmla="*/ 1534160 h 4820372"/>
                <a:gd name="connsiteX131" fmla="*/ 970280 w 4570627"/>
                <a:gd name="connsiteY131" fmla="*/ 1541780 h 4820372"/>
                <a:gd name="connsiteX132" fmla="*/ 932180 w 4570627"/>
                <a:gd name="connsiteY132" fmla="*/ 1397000 h 4820372"/>
                <a:gd name="connsiteX133" fmla="*/ 871220 w 4570627"/>
                <a:gd name="connsiteY133" fmla="*/ 1442720 h 4820372"/>
                <a:gd name="connsiteX134" fmla="*/ 855980 w 4570627"/>
                <a:gd name="connsiteY134" fmla="*/ 1397000 h 4820372"/>
                <a:gd name="connsiteX135" fmla="*/ 924560 w 4570627"/>
                <a:gd name="connsiteY135" fmla="*/ 1336040 h 4820372"/>
                <a:gd name="connsiteX136" fmla="*/ 855980 w 4570627"/>
                <a:gd name="connsiteY136" fmla="*/ 1206500 h 4820372"/>
                <a:gd name="connsiteX137" fmla="*/ 825500 w 4570627"/>
                <a:gd name="connsiteY137" fmla="*/ 1153160 h 4820372"/>
                <a:gd name="connsiteX138" fmla="*/ 787400 w 4570627"/>
                <a:gd name="connsiteY138" fmla="*/ 1252220 h 4820372"/>
                <a:gd name="connsiteX139" fmla="*/ 772160 w 4570627"/>
                <a:gd name="connsiteY139" fmla="*/ 1191260 h 4820372"/>
                <a:gd name="connsiteX140" fmla="*/ 688340 w 4570627"/>
                <a:gd name="connsiteY140" fmla="*/ 1244600 h 4820372"/>
                <a:gd name="connsiteX141" fmla="*/ 695960 w 4570627"/>
                <a:gd name="connsiteY141" fmla="*/ 1099820 h 4820372"/>
                <a:gd name="connsiteX142" fmla="*/ 497840 w 4570627"/>
                <a:gd name="connsiteY142" fmla="*/ 1084580 h 4820372"/>
                <a:gd name="connsiteX143" fmla="*/ 353060 w 4570627"/>
                <a:gd name="connsiteY143" fmla="*/ 1137920 h 4820372"/>
                <a:gd name="connsiteX144" fmla="*/ 467360 w 4570627"/>
                <a:gd name="connsiteY144" fmla="*/ 1198880 h 4820372"/>
                <a:gd name="connsiteX145" fmla="*/ 474980 w 4570627"/>
                <a:gd name="connsiteY145" fmla="*/ 1275080 h 4820372"/>
                <a:gd name="connsiteX146" fmla="*/ 391160 w 4570627"/>
                <a:gd name="connsiteY146" fmla="*/ 1275080 h 4820372"/>
                <a:gd name="connsiteX147" fmla="*/ 360680 w 4570627"/>
                <a:gd name="connsiteY147" fmla="*/ 1374140 h 4820372"/>
                <a:gd name="connsiteX148" fmla="*/ 132080 w 4570627"/>
                <a:gd name="connsiteY148" fmla="*/ 1389380 h 4820372"/>
                <a:gd name="connsiteX149" fmla="*/ 69850 w 4570627"/>
                <a:gd name="connsiteY149" fmla="*/ 1356191 h 4820372"/>
                <a:gd name="connsiteX150" fmla="*/ 69850 w 4570627"/>
                <a:gd name="connsiteY150" fmla="*/ 1257300 h 4820372"/>
                <a:gd name="connsiteX151" fmla="*/ 146050 w 4570627"/>
                <a:gd name="connsiteY151" fmla="*/ 1117600 h 4820372"/>
                <a:gd name="connsiteX152" fmla="*/ 82550 w 4570627"/>
                <a:gd name="connsiteY152" fmla="*/ 1016000 h 4820372"/>
                <a:gd name="connsiteX153" fmla="*/ 25400 w 4570627"/>
                <a:gd name="connsiteY153" fmla="*/ 990600 h 4820372"/>
                <a:gd name="connsiteX154" fmla="*/ 31750 w 4570627"/>
                <a:gd name="connsiteY154" fmla="*/ 774700 h 4820372"/>
                <a:gd name="connsiteX155" fmla="*/ 0 w 4570627"/>
                <a:gd name="connsiteY155" fmla="*/ 698500 h 4820372"/>
                <a:gd name="connsiteX156" fmla="*/ 0 w 4570627"/>
                <a:gd name="connsiteY156" fmla="*/ 596900 h 4820372"/>
                <a:gd name="connsiteX157" fmla="*/ 107950 w 4570627"/>
                <a:gd name="connsiteY157" fmla="*/ 577850 h 4820372"/>
                <a:gd name="connsiteX158" fmla="*/ 127000 w 4570627"/>
                <a:gd name="connsiteY158" fmla="*/ 628650 h 4820372"/>
                <a:gd name="connsiteX159" fmla="*/ 215900 w 4570627"/>
                <a:gd name="connsiteY159" fmla="*/ 571500 h 4820372"/>
                <a:gd name="connsiteX160" fmla="*/ 368300 w 4570627"/>
                <a:gd name="connsiteY160" fmla="*/ 571500 h 4820372"/>
                <a:gd name="connsiteX161" fmla="*/ 368300 w 4570627"/>
                <a:gd name="connsiteY161" fmla="*/ 622300 h 4820372"/>
                <a:gd name="connsiteX162" fmla="*/ 495300 w 4570627"/>
                <a:gd name="connsiteY162" fmla="*/ 622300 h 4820372"/>
                <a:gd name="connsiteX163" fmla="*/ 488950 w 4570627"/>
                <a:gd name="connsiteY163" fmla="*/ 533400 h 4820372"/>
                <a:gd name="connsiteX164" fmla="*/ 488950 w 4570627"/>
                <a:gd name="connsiteY164" fmla="*/ 425450 h 4820372"/>
                <a:gd name="connsiteX165" fmla="*/ 596900 w 4570627"/>
                <a:gd name="connsiteY165" fmla="*/ 438150 h 4820372"/>
                <a:gd name="connsiteX166" fmla="*/ 679450 w 4570627"/>
                <a:gd name="connsiteY166" fmla="*/ 336550 h 4820372"/>
                <a:gd name="connsiteX167" fmla="*/ 717550 w 4570627"/>
                <a:gd name="connsiteY167" fmla="*/ 133350 h 4820372"/>
                <a:gd name="connsiteX168" fmla="*/ 812800 w 4570627"/>
                <a:gd name="connsiteY168" fmla="*/ 184150 h 4820372"/>
                <a:gd name="connsiteX169" fmla="*/ 952500 w 4570627"/>
                <a:gd name="connsiteY169" fmla="*/ 88900 h 4820372"/>
                <a:gd name="connsiteX170" fmla="*/ 979517 w 4570627"/>
                <a:gd name="connsiteY170" fmla="*/ 48377 h 4820372"/>
                <a:gd name="connsiteX171" fmla="*/ 977900 w 4570627"/>
                <a:gd name="connsiteY171" fmla="*/ 95250 h 4820372"/>
                <a:gd name="connsiteX172" fmla="*/ 1060450 w 4570627"/>
                <a:gd name="connsiteY172" fmla="*/ 0 h 4820372"/>
                <a:gd name="connsiteX0" fmla="*/ 546723 w 4570627"/>
                <a:gd name="connsiteY0" fmla="*/ 4516035 h 4820372"/>
                <a:gd name="connsiteX1" fmla="*/ 555179 w 4570627"/>
                <a:gd name="connsiteY1" fmla="*/ 4491435 h 4820372"/>
                <a:gd name="connsiteX2" fmla="*/ 546724 w 4570627"/>
                <a:gd name="connsiteY2" fmla="*/ 4516035 h 4820372"/>
                <a:gd name="connsiteX3" fmla="*/ 546723 w 4570627"/>
                <a:gd name="connsiteY3" fmla="*/ 4516035 h 4820372"/>
                <a:gd name="connsiteX4" fmla="*/ 1060450 w 4570627"/>
                <a:gd name="connsiteY4" fmla="*/ 0 h 4820372"/>
                <a:gd name="connsiteX5" fmla="*/ 1149350 w 4570627"/>
                <a:gd name="connsiteY5" fmla="*/ 38100 h 4820372"/>
                <a:gd name="connsiteX6" fmla="*/ 1263650 w 4570627"/>
                <a:gd name="connsiteY6" fmla="*/ 114300 h 4820372"/>
                <a:gd name="connsiteX7" fmla="*/ 1320800 w 4570627"/>
                <a:gd name="connsiteY7" fmla="*/ 234950 h 4820372"/>
                <a:gd name="connsiteX8" fmla="*/ 1371600 w 4570627"/>
                <a:gd name="connsiteY8" fmla="*/ 215900 h 4820372"/>
                <a:gd name="connsiteX9" fmla="*/ 1479550 w 4570627"/>
                <a:gd name="connsiteY9" fmla="*/ 323850 h 4820372"/>
                <a:gd name="connsiteX10" fmla="*/ 1530350 w 4570627"/>
                <a:gd name="connsiteY10" fmla="*/ 488950 h 4820372"/>
                <a:gd name="connsiteX11" fmla="*/ 1612900 w 4570627"/>
                <a:gd name="connsiteY11" fmla="*/ 533400 h 4820372"/>
                <a:gd name="connsiteX12" fmla="*/ 1638300 w 4570627"/>
                <a:gd name="connsiteY12" fmla="*/ 463550 h 4820372"/>
                <a:gd name="connsiteX13" fmla="*/ 1739900 w 4570627"/>
                <a:gd name="connsiteY13" fmla="*/ 469900 h 4820372"/>
                <a:gd name="connsiteX14" fmla="*/ 1746250 w 4570627"/>
                <a:gd name="connsiteY14" fmla="*/ 419100 h 4820372"/>
                <a:gd name="connsiteX15" fmla="*/ 1689100 w 4570627"/>
                <a:gd name="connsiteY15" fmla="*/ 387350 h 4820372"/>
                <a:gd name="connsiteX16" fmla="*/ 1638300 w 4570627"/>
                <a:gd name="connsiteY16" fmla="*/ 342900 h 4820372"/>
                <a:gd name="connsiteX17" fmla="*/ 1625600 w 4570627"/>
                <a:gd name="connsiteY17" fmla="*/ 292100 h 4820372"/>
                <a:gd name="connsiteX18" fmla="*/ 1778000 w 4570627"/>
                <a:gd name="connsiteY18" fmla="*/ 234950 h 4820372"/>
                <a:gd name="connsiteX19" fmla="*/ 1879600 w 4570627"/>
                <a:gd name="connsiteY19" fmla="*/ 247650 h 4820372"/>
                <a:gd name="connsiteX20" fmla="*/ 1873250 w 4570627"/>
                <a:gd name="connsiteY20" fmla="*/ 311150 h 4820372"/>
                <a:gd name="connsiteX21" fmla="*/ 1981200 w 4570627"/>
                <a:gd name="connsiteY21" fmla="*/ 304800 h 4820372"/>
                <a:gd name="connsiteX22" fmla="*/ 2006600 w 4570627"/>
                <a:gd name="connsiteY22" fmla="*/ 304800 h 4820372"/>
                <a:gd name="connsiteX23" fmla="*/ 2032000 w 4570627"/>
                <a:gd name="connsiteY23" fmla="*/ 406400 h 4820372"/>
                <a:gd name="connsiteX24" fmla="*/ 2133600 w 4570627"/>
                <a:gd name="connsiteY24" fmla="*/ 419100 h 4820372"/>
                <a:gd name="connsiteX25" fmla="*/ 2171700 w 4570627"/>
                <a:gd name="connsiteY25" fmla="*/ 285750 h 4820372"/>
                <a:gd name="connsiteX26" fmla="*/ 2146300 w 4570627"/>
                <a:gd name="connsiteY26" fmla="*/ 146050 h 4820372"/>
                <a:gd name="connsiteX27" fmla="*/ 2216150 w 4570627"/>
                <a:gd name="connsiteY27" fmla="*/ 63500 h 4820372"/>
                <a:gd name="connsiteX28" fmla="*/ 2279650 w 4570627"/>
                <a:gd name="connsiteY28" fmla="*/ 57150 h 4820372"/>
                <a:gd name="connsiteX29" fmla="*/ 2305050 w 4570627"/>
                <a:gd name="connsiteY29" fmla="*/ 152400 h 4820372"/>
                <a:gd name="connsiteX30" fmla="*/ 2374900 w 4570627"/>
                <a:gd name="connsiteY30" fmla="*/ 215900 h 4820372"/>
                <a:gd name="connsiteX31" fmla="*/ 2381250 w 4570627"/>
                <a:gd name="connsiteY31" fmla="*/ 279400 h 4820372"/>
                <a:gd name="connsiteX32" fmla="*/ 2514600 w 4570627"/>
                <a:gd name="connsiteY32" fmla="*/ 228600 h 4820372"/>
                <a:gd name="connsiteX33" fmla="*/ 2641600 w 4570627"/>
                <a:gd name="connsiteY33" fmla="*/ 203200 h 4820372"/>
                <a:gd name="connsiteX34" fmla="*/ 2686050 w 4570627"/>
                <a:gd name="connsiteY34" fmla="*/ 241300 h 4820372"/>
                <a:gd name="connsiteX35" fmla="*/ 2774950 w 4570627"/>
                <a:gd name="connsiteY35" fmla="*/ 190500 h 4820372"/>
                <a:gd name="connsiteX36" fmla="*/ 2796953 w 4570627"/>
                <a:gd name="connsiteY36" fmla="*/ 192596 h 4820372"/>
                <a:gd name="connsiteX37" fmla="*/ 2787650 w 4570627"/>
                <a:gd name="connsiteY37" fmla="*/ 171452 h 4820372"/>
                <a:gd name="connsiteX38" fmla="*/ 2857500 w 4570627"/>
                <a:gd name="connsiteY38" fmla="*/ 330201 h 4820372"/>
                <a:gd name="connsiteX39" fmla="*/ 2971800 w 4570627"/>
                <a:gd name="connsiteY39" fmla="*/ 355601 h 4820372"/>
                <a:gd name="connsiteX40" fmla="*/ 3054350 w 4570627"/>
                <a:gd name="connsiteY40" fmla="*/ 374651 h 4820372"/>
                <a:gd name="connsiteX41" fmla="*/ 3093057 w 4570627"/>
                <a:gd name="connsiteY41" fmla="*/ 529481 h 4820372"/>
                <a:gd name="connsiteX42" fmla="*/ 3011086 w 4570627"/>
                <a:gd name="connsiteY42" fmla="*/ 410623 h 4820372"/>
                <a:gd name="connsiteX43" fmla="*/ 2924805 w 4570627"/>
                <a:gd name="connsiteY43" fmla="*/ 496904 h 4820372"/>
                <a:gd name="connsiteX44" fmla="*/ 3026774 w 4570627"/>
                <a:gd name="connsiteY44" fmla="*/ 606716 h 4820372"/>
                <a:gd name="connsiteX45" fmla="*/ 3050305 w 4570627"/>
                <a:gd name="connsiteY45" fmla="*/ 779278 h 4820372"/>
                <a:gd name="connsiteX46" fmla="*/ 3348367 w 4570627"/>
                <a:gd name="connsiteY46" fmla="*/ 951841 h 4820372"/>
                <a:gd name="connsiteX47" fmla="*/ 3411117 w 4570627"/>
                <a:gd name="connsiteY47" fmla="*/ 1061653 h 4820372"/>
                <a:gd name="connsiteX48" fmla="*/ 3262086 w 4570627"/>
                <a:gd name="connsiteY48" fmla="*/ 1242059 h 4820372"/>
                <a:gd name="connsiteX49" fmla="*/ 3395429 w 4570627"/>
                <a:gd name="connsiteY49" fmla="*/ 1485215 h 4820372"/>
                <a:gd name="connsiteX50" fmla="*/ 3489554 w 4570627"/>
                <a:gd name="connsiteY50" fmla="*/ 1767589 h 4820372"/>
                <a:gd name="connsiteX51" fmla="*/ 3638585 w 4570627"/>
                <a:gd name="connsiteY51" fmla="*/ 1932308 h 4820372"/>
                <a:gd name="connsiteX52" fmla="*/ 3756241 w 4570627"/>
                <a:gd name="connsiteY52" fmla="*/ 1838183 h 4820372"/>
                <a:gd name="connsiteX53" fmla="*/ 3905271 w 4570627"/>
                <a:gd name="connsiteY53" fmla="*/ 2081339 h 4820372"/>
                <a:gd name="connsiteX54" fmla="*/ 4007240 w 4570627"/>
                <a:gd name="connsiteY54" fmla="*/ 2198995 h 4820372"/>
                <a:gd name="connsiteX55" fmla="*/ 4124896 w 4570627"/>
                <a:gd name="connsiteY55" fmla="*/ 2198995 h 4820372"/>
                <a:gd name="connsiteX56" fmla="*/ 4328833 w 4570627"/>
                <a:gd name="connsiteY56" fmla="*/ 2481369 h 4820372"/>
                <a:gd name="connsiteX57" fmla="*/ 4446489 w 4570627"/>
                <a:gd name="connsiteY57" fmla="*/ 2465682 h 4820372"/>
                <a:gd name="connsiteX58" fmla="*/ 4564145 w 4570627"/>
                <a:gd name="connsiteY58" fmla="*/ 2591182 h 4820372"/>
                <a:gd name="connsiteX59" fmla="*/ 4570627 w 4570627"/>
                <a:gd name="connsiteY59" fmla="*/ 2601182 h 4820372"/>
                <a:gd name="connsiteX60" fmla="*/ 4493946 w 4570627"/>
                <a:gd name="connsiteY60" fmla="*/ 2969250 h 4820372"/>
                <a:gd name="connsiteX61" fmla="*/ 4274322 w 4570627"/>
                <a:gd name="connsiteY61" fmla="*/ 2984937 h 4820372"/>
                <a:gd name="connsiteX62" fmla="*/ 4180197 w 4570627"/>
                <a:gd name="connsiteY62" fmla="*/ 3314374 h 4820372"/>
                <a:gd name="connsiteX63" fmla="*/ 3819386 w 4570627"/>
                <a:gd name="connsiteY63" fmla="*/ 3439874 h 4820372"/>
                <a:gd name="connsiteX64" fmla="*/ 3552699 w 4570627"/>
                <a:gd name="connsiteY64" fmla="*/ 3596749 h 4820372"/>
                <a:gd name="connsiteX65" fmla="*/ 3552699 w 4570627"/>
                <a:gd name="connsiteY65" fmla="*/ 3706561 h 4820372"/>
                <a:gd name="connsiteX66" fmla="*/ 3788011 w 4570627"/>
                <a:gd name="connsiteY66" fmla="*/ 3910498 h 4820372"/>
                <a:gd name="connsiteX67" fmla="*/ 3772323 w 4570627"/>
                <a:gd name="connsiteY67" fmla="*/ 4130123 h 4820372"/>
                <a:gd name="connsiteX68" fmla="*/ 3866448 w 4570627"/>
                <a:gd name="connsiteY68" fmla="*/ 4239935 h 4820372"/>
                <a:gd name="connsiteX69" fmla="*/ 3897823 w 4570627"/>
                <a:gd name="connsiteY69" fmla="*/ 4475248 h 4820372"/>
                <a:gd name="connsiteX70" fmla="*/ 3819386 w 4570627"/>
                <a:gd name="connsiteY70" fmla="*/ 4585060 h 4820372"/>
                <a:gd name="connsiteX71" fmla="*/ 3662511 w 4570627"/>
                <a:gd name="connsiteY71" fmla="*/ 4506622 h 4820372"/>
                <a:gd name="connsiteX72" fmla="*/ 3615449 w 4570627"/>
                <a:gd name="connsiteY72" fmla="*/ 4428185 h 4820372"/>
                <a:gd name="connsiteX73" fmla="*/ 3615449 w 4570627"/>
                <a:gd name="connsiteY73" fmla="*/ 4286998 h 4820372"/>
                <a:gd name="connsiteX74" fmla="*/ 3458574 w 4570627"/>
                <a:gd name="connsiteY74" fmla="*/ 4224248 h 4820372"/>
                <a:gd name="connsiteX75" fmla="*/ 3395824 w 4570627"/>
                <a:gd name="connsiteY75" fmla="*/ 4349748 h 4820372"/>
                <a:gd name="connsiteX76" fmla="*/ 3160513 w 4570627"/>
                <a:gd name="connsiteY76" fmla="*/ 4271310 h 4820372"/>
                <a:gd name="connsiteX77" fmla="*/ 3144825 w 4570627"/>
                <a:gd name="connsiteY77" fmla="*/ 4208560 h 4820372"/>
                <a:gd name="connsiteX78" fmla="*/ 2940888 w 4570627"/>
                <a:gd name="connsiteY78" fmla="*/ 4286998 h 4820372"/>
                <a:gd name="connsiteX79" fmla="*/ 2831076 w 4570627"/>
                <a:gd name="connsiteY79" fmla="*/ 4396810 h 4820372"/>
                <a:gd name="connsiteX80" fmla="*/ 2564389 w 4570627"/>
                <a:gd name="connsiteY80" fmla="*/ 4428185 h 4820372"/>
                <a:gd name="connsiteX81" fmla="*/ 2329077 w 4570627"/>
                <a:gd name="connsiteY81" fmla="*/ 4443873 h 4820372"/>
                <a:gd name="connsiteX82" fmla="*/ 2125140 w 4570627"/>
                <a:gd name="connsiteY82" fmla="*/ 4632122 h 4820372"/>
                <a:gd name="connsiteX83" fmla="*/ 1936891 w 4570627"/>
                <a:gd name="connsiteY83" fmla="*/ 4679185 h 4820372"/>
                <a:gd name="connsiteX84" fmla="*/ 1717266 w 4570627"/>
                <a:gd name="connsiteY84" fmla="*/ 4569372 h 4820372"/>
                <a:gd name="connsiteX85" fmla="*/ 1701579 w 4570627"/>
                <a:gd name="connsiteY85" fmla="*/ 4443873 h 4820372"/>
                <a:gd name="connsiteX86" fmla="*/ 1576079 w 4570627"/>
                <a:gd name="connsiteY86" fmla="*/ 4396810 h 4820372"/>
                <a:gd name="connsiteX87" fmla="*/ 1419205 w 4570627"/>
                <a:gd name="connsiteY87" fmla="*/ 4396810 h 4820372"/>
                <a:gd name="connsiteX88" fmla="*/ 1340768 w 4570627"/>
                <a:gd name="connsiteY88" fmla="*/ 4490935 h 4820372"/>
                <a:gd name="connsiteX89" fmla="*/ 1309393 w 4570627"/>
                <a:gd name="connsiteY89" fmla="*/ 4647810 h 4820372"/>
                <a:gd name="connsiteX90" fmla="*/ 1246643 w 4570627"/>
                <a:gd name="connsiteY90" fmla="*/ 4741935 h 4820372"/>
                <a:gd name="connsiteX91" fmla="*/ 1152518 w 4570627"/>
                <a:gd name="connsiteY91" fmla="*/ 4820372 h 4820372"/>
                <a:gd name="connsiteX92" fmla="*/ 964268 w 4570627"/>
                <a:gd name="connsiteY92" fmla="*/ 4773310 h 4820372"/>
                <a:gd name="connsiteX93" fmla="*/ 948581 w 4570627"/>
                <a:gd name="connsiteY93" fmla="*/ 4506622 h 4820372"/>
                <a:gd name="connsiteX94" fmla="*/ 807394 w 4570627"/>
                <a:gd name="connsiteY94" fmla="*/ 4412498 h 4820372"/>
                <a:gd name="connsiteX95" fmla="*/ 773692 w 4570627"/>
                <a:gd name="connsiteY95" fmla="*/ 4412498 h 4820372"/>
                <a:gd name="connsiteX96" fmla="*/ 802640 w 4570627"/>
                <a:gd name="connsiteY96" fmla="*/ 4361180 h 4820372"/>
                <a:gd name="connsiteX97" fmla="*/ 894080 w 4570627"/>
                <a:gd name="connsiteY97" fmla="*/ 4262120 h 4820372"/>
                <a:gd name="connsiteX98" fmla="*/ 1122680 w 4570627"/>
                <a:gd name="connsiteY98" fmla="*/ 4292600 h 4820372"/>
                <a:gd name="connsiteX99" fmla="*/ 1168400 w 4570627"/>
                <a:gd name="connsiteY99" fmla="*/ 4224020 h 4820372"/>
                <a:gd name="connsiteX100" fmla="*/ 1122680 w 4570627"/>
                <a:gd name="connsiteY100" fmla="*/ 4094480 h 4820372"/>
                <a:gd name="connsiteX101" fmla="*/ 1160780 w 4570627"/>
                <a:gd name="connsiteY101" fmla="*/ 4041140 h 4820372"/>
                <a:gd name="connsiteX102" fmla="*/ 1130300 w 4570627"/>
                <a:gd name="connsiteY102" fmla="*/ 3949700 h 4820372"/>
                <a:gd name="connsiteX103" fmla="*/ 1160780 w 4570627"/>
                <a:gd name="connsiteY103" fmla="*/ 3629660 h 4820372"/>
                <a:gd name="connsiteX104" fmla="*/ 1038860 w 4570627"/>
                <a:gd name="connsiteY104" fmla="*/ 3218180 h 4820372"/>
                <a:gd name="connsiteX105" fmla="*/ 1130300 w 4570627"/>
                <a:gd name="connsiteY105" fmla="*/ 3058160 h 4820372"/>
                <a:gd name="connsiteX106" fmla="*/ 1183640 w 4570627"/>
                <a:gd name="connsiteY106" fmla="*/ 3096260 h 4820372"/>
                <a:gd name="connsiteX107" fmla="*/ 1336040 w 4570627"/>
                <a:gd name="connsiteY107" fmla="*/ 2997200 h 4820372"/>
                <a:gd name="connsiteX108" fmla="*/ 1351280 w 4570627"/>
                <a:gd name="connsiteY108" fmla="*/ 2867660 h 4820372"/>
                <a:gd name="connsiteX109" fmla="*/ 1290320 w 4570627"/>
                <a:gd name="connsiteY109" fmla="*/ 2791460 h 4820372"/>
                <a:gd name="connsiteX110" fmla="*/ 1290320 w 4570627"/>
                <a:gd name="connsiteY110" fmla="*/ 2745740 h 4820372"/>
                <a:gd name="connsiteX111" fmla="*/ 1366520 w 4570627"/>
                <a:gd name="connsiteY111" fmla="*/ 2745740 h 4820372"/>
                <a:gd name="connsiteX112" fmla="*/ 1389380 w 4570627"/>
                <a:gd name="connsiteY112" fmla="*/ 2791460 h 4820372"/>
                <a:gd name="connsiteX113" fmla="*/ 1518920 w 4570627"/>
                <a:gd name="connsiteY113" fmla="*/ 2760980 h 4820372"/>
                <a:gd name="connsiteX114" fmla="*/ 1503680 w 4570627"/>
                <a:gd name="connsiteY114" fmla="*/ 2669540 h 4820372"/>
                <a:gd name="connsiteX115" fmla="*/ 1450340 w 4570627"/>
                <a:gd name="connsiteY115" fmla="*/ 2608580 h 4820372"/>
                <a:gd name="connsiteX116" fmla="*/ 1488440 w 4570627"/>
                <a:gd name="connsiteY116" fmla="*/ 2395220 h 4820372"/>
                <a:gd name="connsiteX117" fmla="*/ 1389380 w 4570627"/>
                <a:gd name="connsiteY117" fmla="*/ 2242820 h 4820372"/>
                <a:gd name="connsiteX118" fmla="*/ 1297940 w 4570627"/>
                <a:gd name="connsiteY118" fmla="*/ 2227580 h 4820372"/>
                <a:gd name="connsiteX119" fmla="*/ 1244600 w 4570627"/>
                <a:gd name="connsiteY119" fmla="*/ 2128520 h 4820372"/>
                <a:gd name="connsiteX120" fmla="*/ 1282700 w 4570627"/>
                <a:gd name="connsiteY120" fmla="*/ 2075180 h 4820372"/>
                <a:gd name="connsiteX121" fmla="*/ 1183640 w 4570627"/>
                <a:gd name="connsiteY121" fmla="*/ 1968500 h 4820372"/>
                <a:gd name="connsiteX122" fmla="*/ 1168400 w 4570627"/>
                <a:gd name="connsiteY122" fmla="*/ 1869440 h 4820372"/>
                <a:gd name="connsiteX123" fmla="*/ 1183640 w 4570627"/>
                <a:gd name="connsiteY123" fmla="*/ 1838960 h 4820372"/>
                <a:gd name="connsiteX124" fmla="*/ 1153160 w 4570627"/>
                <a:gd name="connsiteY124" fmla="*/ 1709420 h 4820372"/>
                <a:gd name="connsiteX125" fmla="*/ 1176020 w 4570627"/>
                <a:gd name="connsiteY125" fmla="*/ 1694180 h 4820372"/>
                <a:gd name="connsiteX126" fmla="*/ 1145540 w 4570627"/>
                <a:gd name="connsiteY126" fmla="*/ 1480820 h 4820372"/>
                <a:gd name="connsiteX127" fmla="*/ 1099820 w 4570627"/>
                <a:gd name="connsiteY127" fmla="*/ 1442720 h 4820372"/>
                <a:gd name="connsiteX128" fmla="*/ 1076960 w 4570627"/>
                <a:gd name="connsiteY128" fmla="*/ 1465580 h 4820372"/>
                <a:gd name="connsiteX129" fmla="*/ 1069340 w 4570627"/>
                <a:gd name="connsiteY129" fmla="*/ 1534160 h 4820372"/>
                <a:gd name="connsiteX130" fmla="*/ 970280 w 4570627"/>
                <a:gd name="connsiteY130" fmla="*/ 1541780 h 4820372"/>
                <a:gd name="connsiteX131" fmla="*/ 932180 w 4570627"/>
                <a:gd name="connsiteY131" fmla="*/ 1397000 h 4820372"/>
                <a:gd name="connsiteX132" fmla="*/ 871220 w 4570627"/>
                <a:gd name="connsiteY132" fmla="*/ 1442720 h 4820372"/>
                <a:gd name="connsiteX133" fmla="*/ 855980 w 4570627"/>
                <a:gd name="connsiteY133" fmla="*/ 1397000 h 4820372"/>
                <a:gd name="connsiteX134" fmla="*/ 924560 w 4570627"/>
                <a:gd name="connsiteY134" fmla="*/ 1336040 h 4820372"/>
                <a:gd name="connsiteX135" fmla="*/ 855980 w 4570627"/>
                <a:gd name="connsiteY135" fmla="*/ 1206500 h 4820372"/>
                <a:gd name="connsiteX136" fmla="*/ 825500 w 4570627"/>
                <a:gd name="connsiteY136" fmla="*/ 1153160 h 4820372"/>
                <a:gd name="connsiteX137" fmla="*/ 787400 w 4570627"/>
                <a:gd name="connsiteY137" fmla="*/ 1252220 h 4820372"/>
                <a:gd name="connsiteX138" fmla="*/ 772160 w 4570627"/>
                <a:gd name="connsiteY138" fmla="*/ 1191260 h 4820372"/>
                <a:gd name="connsiteX139" fmla="*/ 688340 w 4570627"/>
                <a:gd name="connsiteY139" fmla="*/ 1244600 h 4820372"/>
                <a:gd name="connsiteX140" fmla="*/ 695960 w 4570627"/>
                <a:gd name="connsiteY140" fmla="*/ 1099820 h 4820372"/>
                <a:gd name="connsiteX141" fmla="*/ 497840 w 4570627"/>
                <a:gd name="connsiteY141" fmla="*/ 1084580 h 4820372"/>
                <a:gd name="connsiteX142" fmla="*/ 353060 w 4570627"/>
                <a:gd name="connsiteY142" fmla="*/ 1137920 h 4820372"/>
                <a:gd name="connsiteX143" fmla="*/ 467360 w 4570627"/>
                <a:gd name="connsiteY143" fmla="*/ 1198880 h 4820372"/>
                <a:gd name="connsiteX144" fmla="*/ 474980 w 4570627"/>
                <a:gd name="connsiteY144" fmla="*/ 1275080 h 4820372"/>
                <a:gd name="connsiteX145" fmla="*/ 391160 w 4570627"/>
                <a:gd name="connsiteY145" fmla="*/ 1275080 h 4820372"/>
                <a:gd name="connsiteX146" fmla="*/ 360680 w 4570627"/>
                <a:gd name="connsiteY146" fmla="*/ 1374140 h 4820372"/>
                <a:gd name="connsiteX147" fmla="*/ 132080 w 4570627"/>
                <a:gd name="connsiteY147" fmla="*/ 1389380 h 4820372"/>
                <a:gd name="connsiteX148" fmla="*/ 69850 w 4570627"/>
                <a:gd name="connsiteY148" fmla="*/ 1356191 h 4820372"/>
                <a:gd name="connsiteX149" fmla="*/ 69850 w 4570627"/>
                <a:gd name="connsiteY149" fmla="*/ 1257300 h 4820372"/>
                <a:gd name="connsiteX150" fmla="*/ 146050 w 4570627"/>
                <a:gd name="connsiteY150" fmla="*/ 1117600 h 4820372"/>
                <a:gd name="connsiteX151" fmla="*/ 82550 w 4570627"/>
                <a:gd name="connsiteY151" fmla="*/ 1016000 h 4820372"/>
                <a:gd name="connsiteX152" fmla="*/ 25400 w 4570627"/>
                <a:gd name="connsiteY152" fmla="*/ 990600 h 4820372"/>
                <a:gd name="connsiteX153" fmla="*/ 31750 w 4570627"/>
                <a:gd name="connsiteY153" fmla="*/ 774700 h 4820372"/>
                <a:gd name="connsiteX154" fmla="*/ 0 w 4570627"/>
                <a:gd name="connsiteY154" fmla="*/ 698500 h 4820372"/>
                <a:gd name="connsiteX155" fmla="*/ 0 w 4570627"/>
                <a:gd name="connsiteY155" fmla="*/ 596900 h 4820372"/>
                <a:gd name="connsiteX156" fmla="*/ 107950 w 4570627"/>
                <a:gd name="connsiteY156" fmla="*/ 577850 h 4820372"/>
                <a:gd name="connsiteX157" fmla="*/ 127000 w 4570627"/>
                <a:gd name="connsiteY157" fmla="*/ 628650 h 4820372"/>
                <a:gd name="connsiteX158" fmla="*/ 215900 w 4570627"/>
                <a:gd name="connsiteY158" fmla="*/ 571500 h 4820372"/>
                <a:gd name="connsiteX159" fmla="*/ 368300 w 4570627"/>
                <a:gd name="connsiteY159" fmla="*/ 571500 h 4820372"/>
                <a:gd name="connsiteX160" fmla="*/ 368300 w 4570627"/>
                <a:gd name="connsiteY160" fmla="*/ 622300 h 4820372"/>
                <a:gd name="connsiteX161" fmla="*/ 495300 w 4570627"/>
                <a:gd name="connsiteY161" fmla="*/ 622300 h 4820372"/>
                <a:gd name="connsiteX162" fmla="*/ 488950 w 4570627"/>
                <a:gd name="connsiteY162" fmla="*/ 533400 h 4820372"/>
                <a:gd name="connsiteX163" fmla="*/ 488950 w 4570627"/>
                <a:gd name="connsiteY163" fmla="*/ 425450 h 4820372"/>
                <a:gd name="connsiteX164" fmla="*/ 596900 w 4570627"/>
                <a:gd name="connsiteY164" fmla="*/ 438150 h 4820372"/>
                <a:gd name="connsiteX165" fmla="*/ 679450 w 4570627"/>
                <a:gd name="connsiteY165" fmla="*/ 336550 h 4820372"/>
                <a:gd name="connsiteX166" fmla="*/ 717550 w 4570627"/>
                <a:gd name="connsiteY166" fmla="*/ 133350 h 4820372"/>
                <a:gd name="connsiteX167" fmla="*/ 812800 w 4570627"/>
                <a:gd name="connsiteY167" fmla="*/ 184150 h 4820372"/>
                <a:gd name="connsiteX168" fmla="*/ 952500 w 4570627"/>
                <a:gd name="connsiteY168" fmla="*/ 88900 h 4820372"/>
                <a:gd name="connsiteX169" fmla="*/ 979517 w 4570627"/>
                <a:gd name="connsiteY169" fmla="*/ 48377 h 4820372"/>
                <a:gd name="connsiteX170" fmla="*/ 977900 w 4570627"/>
                <a:gd name="connsiteY170" fmla="*/ 95250 h 4820372"/>
                <a:gd name="connsiteX171" fmla="*/ 1060450 w 4570627"/>
                <a:gd name="connsiteY171" fmla="*/ 0 h 4820372"/>
                <a:gd name="connsiteX0" fmla="*/ 546724 w 4570627"/>
                <a:gd name="connsiteY0" fmla="*/ 4516035 h 4820372"/>
                <a:gd name="connsiteX1" fmla="*/ 555179 w 4570627"/>
                <a:gd name="connsiteY1" fmla="*/ 4491435 h 4820372"/>
                <a:gd name="connsiteX2" fmla="*/ 546724 w 4570627"/>
                <a:gd name="connsiteY2" fmla="*/ 4516035 h 4820372"/>
                <a:gd name="connsiteX3" fmla="*/ 1060450 w 4570627"/>
                <a:gd name="connsiteY3" fmla="*/ 0 h 4820372"/>
                <a:gd name="connsiteX4" fmla="*/ 1149350 w 4570627"/>
                <a:gd name="connsiteY4" fmla="*/ 38100 h 4820372"/>
                <a:gd name="connsiteX5" fmla="*/ 1263650 w 4570627"/>
                <a:gd name="connsiteY5" fmla="*/ 114300 h 4820372"/>
                <a:gd name="connsiteX6" fmla="*/ 1320800 w 4570627"/>
                <a:gd name="connsiteY6" fmla="*/ 234950 h 4820372"/>
                <a:gd name="connsiteX7" fmla="*/ 1371600 w 4570627"/>
                <a:gd name="connsiteY7" fmla="*/ 215900 h 4820372"/>
                <a:gd name="connsiteX8" fmla="*/ 1479550 w 4570627"/>
                <a:gd name="connsiteY8" fmla="*/ 323850 h 4820372"/>
                <a:gd name="connsiteX9" fmla="*/ 1530350 w 4570627"/>
                <a:gd name="connsiteY9" fmla="*/ 488950 h 4820372"/>
                <a:gd name="connsiteX10" fmla="*/ 1612900 w 4570627"/>
                <a:gd name="connsiteY10" fmla="*/ 533400 h 4820372"/>
                <a:gd name="connsiteX11" fmla="*/ 1638300 w 4570627"/>
                <a:gd name="connsiteY11" fmla="*/ 463550 h 4820372"/>
                <a:gd name="connsiteX12" fmla="*/ 1739900 w 4570627"/>
                <a:gd name="connsiteY12" fmla="*/ 469900 h 4820372"/>
                <a:gd name="connsiteX13" fmla="*/ 1746250 w 4570627"/>
                <a:gd name="connsiteY13" fmla="*/ 419100 h 4820372"/>
                <a:gd name="connsiteX14" fmla="*/ 1689100 w 4570627"/>
                <a:gd name="connsiteY14" fmla="*/ 387350 h 4820372"/>
                <a:gd name="connsiteX15" fmla="*/ 1638300 w 4570627"/>
                <a:gd name="connsiteY15" fmla="*/ 342900 h 4820372"/>
                <a:gd name="connsiteX16" fmla="*/ 1625600 w 4570627"/>
                <a:gd name="connsiteY16" fmla="*/ 292100 h 4820372"/>
                <a:gd name="connsiteX17" fmla="*/ 1778000 w 4570627"/>
                <a:gd name="connsiteY17" fmla="*/ 234950 h 4820372"/>
                <a:gd name="connsiteX18" fmla="*/ 1879600 w 4570627"/>
                <a:gd name="connsiteY18" fmla="*/ 247650 h 4820372"/>
                <a:gd name="connsiteX19" fmla="*/ 1873250 w 4570627"/>
                <a:gd name="connsiteY19" fmla="*/ 311150 h 4820372"/>
                <a:gd name="connsiteX20" fmla="*/ 1981200 w 4570627"/>
                <a:gd name="connsiteY20" fmla="*/ 304800 h 4820372"/>
                <a:gd name="connsiteX21" fmla="*/ 2006600 w 4570627"/>
                <a:gd name="connsiteY21" fmla="*/ 304800 h 4820372"/>
                <a:gd name="connsiteX22" fmla="*/ 2032000 w 4570627"/>
                <a:gd name="connsiteY22" fmla="*/ 406400 h 4820372"/>
                <a:gd name="connsiteX23" fmla="*/ 2133600 w 4570627"/>
                <a:gd name="connsiteY23" fmla="*/ 419100 h 4820372"/>
                <a:gd name="connsiteX24" fmla="*/ 2171700 w 4570627"/>
                <a:gd name="connsiteY24" fmla="*/ 285750 h 4820372"/>
                <a:gd name="connsiteX25" fmla="*/ 2146300 w 4570627"/>
                <a:gd name="connsiteY25" fmla="*/ 146050 h 4820372"/>
                <a:gd name="connsiteX26" fmla="*/ 2216150 w 4570627"/>
                <a:gd name="connsiteY26" fmla="*/ 63500 h 4820372"/>
                <a:gd name="connsiteX27" fmla="*/ 2279650 w 4570627"/>
                <a:gd name="connsiteY27" fmla="*/ 57150 h 4820372"/>
                <a:gd name="connsiteX28" fmla="*/ 2305050 w 4570627"/>
                <a:gd name="connsiteY28" fmla="*/ 152400 h 4820372"/>
                <a:gd name="connsiteX29" fmla="*/ 2374900 w 4570627"/>
                <a:gd name="connsiteY29" fmla="*/ 215900 h 4820372"/>
                <a:gd name="connsiteX30" fmla="*/ 2381250 w 4570627"/>
                <a:gd name="connsiteY30" fmla="*/ 279400 h 4820372"/>
                <a:gd name="connsiteX31" fmla="*/ 2514600 w 4570627"/>
                <a:gd name="connsiteY31" fmla="*/ 228600 h 4820372"/>
                <a:gd name="connsiteX32" fmla="*/ 2641600 w 4570627"/>
                <a:gd name="connsiteY32" fmla="*/ 203200 h 4820372"/>
                <a:gd name="connsiteX33" fmla="*/ 2686050 w 4570627"/>
                <a:gd name="connsiteY33" fmla="*/ 241300 h 4820372"/>
                <a:gd name="connsiteX34" fmla="*/ 2774950 w 4570627"/>
                <a:gd name="connsiteY34" fmla="*/ 190500 h 4820372"/>
                <a:gd name="connsiteX35" fmla="*/ 2796953 w 4570627"/>
                <a:gd name="connsiteY35" fmla="*/ 192596 h 4820372"/>
                <a:gd name="connsiteX36" fmla="*/ 2787650 w 4570627"/>
                <a:gd name="connsiteY36" fmla="*/ 171452 h 4820372"/>
                <a:gd name="connsiteX37" fmla="*/ 2857500 w 4570627"/>
                <a:gd name="connsiteY37" fmla="*/ 330201 h 4820372"/>
                <a:gd name="connsiteX38" fmla="*/ 2971800 w 4570627"/>
                <a:gd name="connsiteY38" fmla="*/ 355601 h 4820372"/>
                <a:gd name="connsiteX39" fmla="*/ 3054350 w 4570627"/>
                <a:gd name="connsiteY39" fmla="*/ 374651 h 4820372"/>
                <a:gd name="connsiteX40" fmla="*/ 3093057 w 4570627"/>
                <a:gd name="connsiteY40" fmla="*/ 529481 h 4820372"/>
                <a:gd name="connsiteX41" fmla="*/ 3011086 w 4570627"/>
                <a:gd name="connsiteY41" fmla="*/ 410623 h 4820372"/>
                <a:gd name="connsiteX42" fmla="*/ 2924805 w 4570627"/>
                <a:gd name="connsiteY42" fmla="*/ 496904 h 4820372"/>
                <a:gd name="connsiteX43" fmla="*/ 3026774 w 4570627"/>
                <a:gd name="connsiteY43" fmla="*/ 606716 h 4820372"/>
                <a:gd name="connsiteX44" fmla="*/ 3050305 w 4570627"/>
                <a:gd name="connsiteY44" fmla="*/ 779278 h 4820372"/>
                <a:gd name="connsiteX45" fmla="*/ 3348367 w 4570627"/>
                <a:gd name="connsiteY45" fmla="*/ 951841 h 4820372"/>
                <a:gd name="connsiteX46" fmla="*/ 3411117 w 4570627"/>
                <a:gd name="connsiteY46" fmla="*/ 1061653 h 4820372"/>
                <a:gd name="connsiteX47" fmla="*/ 3262086 w 4570627"/>
                <a:gd name="connsiteY47" fmla="*/ 1242059 h 4820372"/>
                <a:gd name="connsiteX48" fmla="*/ 3395429 w 4570627"/>
                <a:gd name="connsiteY48" fmla="*/ 1485215 h 4820372"/>
                <a:gd name="connsiteX49" fmla="*/ 3489554 w 4570627"/>
                <a:gd name="connsiteY49" fmla="*/ 1767589 h 4820372"/>
                <a:gd name="connsiteX50" fmla="*/ 3638585 w 4570627"/>
                <a:gd name="connsiteY50" fmla="*/ 1932308 h 4820372"/>
                <a:gd name="connsiteX51" fmla="*/ 3756241 w 4570627"/>
                <a:gd name="connsiteY51" fmla="*/ 1838183 h 4820372"/>
                <a:gd name="connsiteX52" fmla="*/ 3905271 w 4570627"/>
                <a:gd name="connsiteY52" fmla="*/ 2081339 h 4820372"/>
                <a:gd name="connsiteX53" fmla="*/ 4007240 w 4570627"/>
                <a:gd name="connsiteY53" fmla="*/ 2198995 h 4820372"/>
                <a:gd name="connsiteX54" fmla="*/ 4124896 w 4570627"/>
                <a:gd name="connsiteY54" fmla="*/ 2198995 h 4820372"/>
                <a:gd name="connsiteX55" fmla="*/ 4328833 w 4570627"/>
                <a:gd name="connsiteY55" fmla="*/ 2481369 h 4820372"/>
                <a:gd name="connsiteX56" fmla="*/ 4446489 w 4570627"/>
                <a:gd name="connsiteY56" fmla="*/ 2465682 h 4820372"/>
                <a:gd name="connsiteX57" fmla="*/ 4564145 w 4570627"/>
                <a:gd name="connsiteY57" fmla="*/ 2591182 h 4820372"/>
                <a:gd name="connsiteX58" fmla="*/ 4570627 w 4570627"/>
                <a:gd name="connsiteY58" fmla="*/ 2601182 h 4820372"/>
                <a:gd name="connsiteX59" fmla="*/ 4493946 w 4570627"/>
                <a:gd name="connsiteY59" fmla="*/ 2969250 h 4820372"/>
                <a:gd name="connsiteX60" fmla="*/ 4274322 w 4570627"/>
                <a:gd name="connsiteY60" fmla="*/ 2984937 h 4820372"/>
                <a:gd name="connsiteX61" fmla="*/ 4180197 w 4570627"/>
                <a:gd name="connsiteY61" fmla="*/ 3314374 h 4820372"/>
                <a:gd name="connsiteX62" fmla="*/ 3819386 w 4570627"/>
                <a:gd name="connsiteY62" fmla="*/ 3439874 h 4820372"/>
                <a:gd name="connsiteX63" fmla="*/ 3552699 w 4570627"/>
                <a:gd name="connsiteY63" fmla="*/ 3596749 h 4820372"/>
                <a:gd name="connsiteX64" fmla="*/ 3552699 w 4570627"/>
                <a:gd name="connsiteY64" fmla="*/ 3706561 h 4820372"/>
                <a:gd name="connsiteX65" fmla="*/ 3788011 w 4570627"/>
                <a:gd name="connsiteY65" fmla="*/ 3910498 h 4820372"/>
                <a:gd name="connsiteX66" fmla="*/ 3772323 w 4570627"/>
                <a:gd name="connsiteY66" fmla="*/ 4130123 h 4820372"/>
                <a:gd name="connsiteX67" fmla="*/ 3866448 w 4570627"/>
                <a:gd name="connsiteY67" fmla="*/ 4239935 h 4820372"/>
                <a:gd name="connsiteX68" fmla="*/ 3897823 w 4570627"/>
                <a:gd name="connsiteY68" fmla="*/ 4475248 h 4820372"/>
                <a:gd name="connsiteX69" fmla="*/ 3819386 w 4570627"/>
                <a:gd name="connsiteY69" fmla="*/ 4585060 h 4820372"/>
                <a:gd name="connsiteX70" fmla="*/ 3662511 w 4570627"/>
                <a:gd name="connsiteY70" fmla="*/ 4506622 h 4820372"/>
                <a:gd name="connsiteX71" fmla="*/ 3615449 w 4570627"/>
                <a:gd name="connsiteY71" fmla="*/ 4428185 h 4820372"/>
                <a:gd name="connsiteX72" fmla="*/ 3615449 w 4570627"/>
                <a:gd name="connsiteY72" fmla="*/ 4286998 h 4820372"/>
                <a:gd name="connsiteX73" fmla="*/ 3458574 w 4570627"/>
                <a:gd name="connsiteY73" fmla="*/ 4224248 h 4820372"/>
                <a:gd name="connsiteX74" fmla="*/ 3395824 w 4570627"/>
                <a:gd name="connsiteY74" fmla="*/ 4349748 h 4820372"/>
                <a:gd name="connsiteX75" fmla="*/ 3160513 w 4570627"/>
                <a:gd name="connsiteY75" fmla="*/ 4271310 h 4820372"/>
                <a:gd name="connsiteX76" fmla="*/ 3144825 w 4570627"/>
                <a:gd name="connsiteY76" fmla="*/ 4208560 h 4820372"/>
                <a:gd name="connsiteX77" fmla="*/ 2940888 w 4570627"/>
                <a:gd name="connsiteY77" fmla="*/ 4286998 h 4820372"/>
                <a:gd name="connsiteX78" fmla="*/ 2831076 w 4570627"/>
                <a:gd name="connsiteY78" fmla="*/ 4396810 h 4820372"/>
                <a:gd name="connsiteX79" fmla="*/ 2564389 w 4570627"/>
                <a:gd name="connsiteY79" fmla="*/ 4428185 h 4820372"/>
                <a:gd name="connsiteX80" fmla="*/ 2329077 w 4570627"/>
                <a:gd name="connsiteY80" fmla="*/ 4443873 h 4820372"/>
                <a:gd name="connsiteX81" fmla="*/ 2125140 w 4570627"/>
                <a:gd name="connsiteY81" fmla="*/ 4632122 h 4820372"/>
                <a:gd name="connsiteX82" fmla="*/ 1936891 w 4570627"/>
                <a:gd name="connsiteY82" fmla="*/ 4679185 h 4820372"/>
                <a:gd name="connsiteX83" fmla="*/ 1717266 w 4570627"/>
                <a:gd name="connsiteY83" fmla="*/ 4569372 h 4820372"/>
                <a:gd name="connsiteX84" fmla="*/ 1701579 w 4570627"/>
                <a:gd name="connsiteY84" fmla="*/ 4443873 h 4820372"/>
                <a:gd name="connsiteX85" fmla="*/ 1576079 w 4570627"/>
                <a:gd name="connsiteY85" fmla="*/ 4396810 h 4820372"/>
                <a:gd name="connsiteX86" fmla="*/ 1419205 w 4570627"/>
                <a:gd name="connsiteY86" fmla="*/ 4396810 h 4820372"/>
                <a:gd name="connsiteX87" fmla="*/ 1340768 w 4570627"/>
                <a:gd name="connsiteY87" fmla="*/ 4490935 h 4820372"/>
                <a:gd name="connsiteX88" fmla="*/ 1309393 w 4570627"/>
                <a:gd name="connsiteY88" fmla="*/ 4647810 h 4820372"/>
                <a:gd name="connsiteX89" fmla="*/ 1246643 w 4570627"/>
                <a:gd name="connsiteY89" fmla="*/ 4741935 h 4820372"/>
                <a:gd name="connsiteX90" fmla="*/ 1152518 w 4570627"/>
                <a:gd name="connsiteY90" fmla="*/ 4820372 h 4820372"/>
                <a:gd name="connsiteX91" fmla="*/ 964268 w 4570627"/>
                <a:gd name="connsiteY91" fmla="*/ 4773310 h 4820372"/>
                <a:gd name="connsiteX92" fmla="*/ 948581 w 4570627"/>
                <a:gd name="connsiteY92" fmla="*/ 4506622 h 4820372"/>
                <a:gd name="connsiteX93" fmla="*/ 807394 w 4570627"/>
                <a:gd name="connsiteY93" fmla="*/ 4412498 h 4820372"/>
                <a:gd name="connsiteX94" fmla="*/ 773692 w 4570627"/>
                <a:gd name="connsiteY94" fmla="*/ 4412498 h 4820372"/>
                <a:gd name="connsiteX95" fmla="*/ 802640 w 4570627"/>
                <a:gd name="connsiteY95" fmla="*/ 4361180 h 4820372"/>
                <a:gd name="connsiteX96" fmla="*/ 894080 w 4570627"/>
                <a:gd name="connsiteY96" fmla="*/ 4262120 h 4820372"/>
                <a:gd name="connsiteX97" fmla="*/ 1122680 w 4570627"/>
                <a:gd name="connsiteY97" fmla="*/ 4292600 h 4820372"/>
                <a:gd name="connsiteX98" fmla="*/ 1168400 w 4570627"/>
                <a:gd name="connsiteY98" fmla="*/ 4224020 h 4820372"/>
                <a:gd name="connsiteX99" fmla="*/ 1122680 w 4570627"/>
                <a:gd name="connsiteY99" fmla="*/ 4094480 h 4820372"/>
                <a:gd name="connsiteX100" fmla="*/ 1160780 w 4570627"/>
                <a:gd name="connsiteY100" fmla="*/ 4041140 h 4820372"/>
                <a:gd name="connsiteX101" fmla="*/ 1130300 w 4570627"/>
                <a:gd name="connsiteY101" fmla="*/ 3949700 h 4820372"/>
                <a:gd name="connsiteX102" fmla="*/ 1160780 w 4570627"/>
                <a:gd name="connsiteY102" fmla="*/ 3629660 h 4820372"/>
                <a:gd name="connsiteX103" fmla="*/ 1038860 w 4570627"/>
                <a:gd name="connsiteY103" fmla="*/ 3218180 h 4820372"/>
                <a:gd name="connsiteX104" fmla="*/ 1130300 w 4570627"/>
                <a:gd name="connsiteY104" fmla="*/ 3058160 h 4820372"/>
                <a:gd name="connsiteX105" fmla="*/ 1183640 w 4570627"/>
                <a:gd name="connsiteY105" fmla="*/ 3096260 h 4820372"/>
                <a:gd name="connsiteX106" fmla="*/ 1336040 w 4570627"/>
                <a:gd name="connsiteY106" fmla="*/ 2997200 h 4820372"/>
                <a:gd name="connsiteX107" fmla="*/ 1351280 w 4570627"/>
                <a:gd name="connsiteY107" fmla="*/ 2867660 h 4820372"/>
                <a:gd name="connsiteX108" fmla="*/ 1290320 w 4570627"/>
                <a:gd name="connsiteY108" fmla="*/ 2791460 h 4820372"/>
                <a:gd name="connsiteX109" fmla="*/ 1290320 w 4570627"/>
                <a:gd name="connsiteY109" fmla="*/ 2745740 h 4820372"/>
                <a:gd name="connsiteX110" fmla="*/ 1366520 w 4570627"/>
                <a:gd name="connsiteY110" fmla="*/ 2745740 h 4820372"/>
                <a:gd name="connsiteX111" fmla="*/ 1389380 w 4570627"/>
                <a:gd name="connsiteY111" fmla="*/ 2791460 h 4820372"/>
                <a:gd name="connsiteX112" fmla="*/ 1518920 w 4570627"/>
                <a:gd name="connsiteY112" fmla="*/ 2760980 h 4820372"/>
                <a:gd name="connsiteX113" fmla="*/ 1503680 w 4570627"/>
                <a:gd name="connsiteY113" fmla="*/ 2669540 h 4820372"/>
                <a:gd name="connsiteX114" fmla="*/ 1450340 w 4570627"/>
                <a:gd name="connsiteY114" fmla="*/ 2608580 h 4820372"/>
                <a:gd name="connsiteX115" fmla="*/ 1488440 w 4570627"/>
                <a:gd name="connsiteY115" fmla="*/ 2395220 h 4820372"/>
                <a:gd name="connsiteX116" fmla="*/ 1389380 w 4570627"/>
                <a:gd name="connsiteY116" fmla="*/ 2242820 h 4820372"/>
                <a:gd name="connsiteX117" fmla="*/ 1297940 w 4570627"/>
                <a:gd name="connsiteY117" fmla="*/ 2227580 h 4820372"/>
                <a:gd name="connsiteX118" fmla="*/ 1244600 w 4570627"/>
                <a:gd name="connsiteY118" fmla="*/ 2128520 h 4820372"/>
                <a:gd name="connsiteX119" fmla="*/ 1282700 w 4570627"/>
                <a:gd name="connsiteY119" fmla="*/ 2075180 h 4820372"/>
                <a:gd name="connsiteX120" fmla="*/ 1183640 w 4570627"/>
                <a:gd name="connsiteY120" fmla="*/ 1968500 h 4820372"/>
                <a:gd name="connsiteX121" fmla="*/ 1168400 w 4570627"/>
                <a:gd name="connsiteY121" fmla="*/ 1869440 h 4820372"/>
                <a:gd name="connsiteX122" fmla="*/ 1183640 w 4570627"/>
                <a:gd name="connsiteY122" fmla="*/ 1838960 h 4820372"/>
                <a:gd name="connsiteX123" fmla="*/ 1153160 w 4570627"/>
                <a:gd name="connsiteY123" fmla="*/ 1709420 h 4820372"/>
                <a:gd name="connsiteX124" fmla="*/ 1176020 w 4570627"/>
                <a:gd name="connsiteY124" fmla="*/ 1694180 h 4820372"/>
                <a:gd name="connsiteX125" fmla="*/ 1145540 w 4570627"/>
                <a:gd name="connsiteY125" fmla="*/ 1480820 h 4820372"/>
                <a:gd name="connsiteX126" fmla="*/ 1099820 w 4570627"/>
                <a:gd name="connsiteY126" fmla="*/ 1442720 h 4820372"/>
                <a:gd name="connsiteX127" fmla="*/ 1076960 w 4570627"/>
                <a:gd name="connsiteY127" fmla="*/ 1465580 h 4820372"/>
                <a:gd name="connsiteX128" fmla="*/ 1069340 w 4570627"/>
                <a:gd name="connsiteY128" fmla="*/ 1534160 h 4820372"/>
                <a:gd name="connsiteX129" fmla="*/ 970280 w 4570627"/>
                <a:gd name="connsiteY129" fmla="*/ 1541780 h 4820372"/>
                <a:gd name="connsiteX130" fmla="*/ 932180 w 4570627"/>
                <a:gd name="connsiteY130" fmla="*/ 1397000 h 4820372"/>
                <a:gd name="connsiteX131" fmla="*/ 871220 w 4570627"/>
                <a:gd name="connsiteY131" fmla="*/ 1442720 h 4820372"/>
                <a:gd name="connsiteX132" fmla="*/ 855980 w 4570627"/>
                <a:gd name="connsiteY132" fmla="*/ 1397000 h 4820372"/>
                <a:gd name="connsiteX133" fmla="*/ 924560 w 4570627"/>
                <a:gd name="connsiteY133" fmla="*/ 1336040 h 4820372"/>
                <a:gd name="connsiteX134" fmla="*/ 855980 w 4570627"/>
                <a:gd name="connsiteY134" fmla="*/ 1206500 h 4820372"/>
                <a:gd name="connsiteX135" fmla="*/ 825500 w 4570627"/>
                <a:gd name="connsiteY135" fmla="*/ 1153160 h 4820372"/>
                <a:gd name="connsiteX136" fmla="*/ 787400 w 4570627"/>
                <a:gd name="connsiteY136" fmla="*/ 1252220 h 4820372"/>
                <a:gd name="connsiteX137" fmla="*/ 772160 w 4570627"/>
                <a:gd name="connsiteY137" fmla="*/ 1191260 h 4820372"/>
                <a:gd name="connsiteX138" fmla="*/ 688340 w 4570627"/>
                <a:gd name="connsiteY138" fmla="*/ 1244600 h 4820372"/>
                <a:gd name="connsiteX139" fmla="*/ 695960 w 4570627"/>
                <a:gd name="connsiteY139" fmla="*/ 1099820 h 4820372"/>
                <a:gd name="connsiteX140" fmla="*/ 497840 w 4570627"/>
                <a:gd name="connsiteY140" fmla="*/ 1084580 h 4820372"/>
                <a:gd name="connsiteX141" fmla="*/ 353060 w 4570627"/>
                <a:gd name="connsiteY141" fmla="*/ 1137920 h 4820372"/>
                <a:gd name="connsiteX142" fmla="*/ 467360 w 4570627"/>
                <a:gd name="connsiteY142" fmla="*/ 1198880 h 4820372"/>
                <a:gd name="connsiteX143" fmla="*/ 474980 w 4570627"/>
                <a:gd name="connsiteY143" fmla="*/ 1275080 h 4820372"/>
                <a:gd name="connsiteX144" fmla="*/ 391160 w 4570627"/>
                <a:gd name="connsiteY144" fmla="*/ 1275080 h 4820372"/>
                <a:gd name="connsiteX145" fmla="*/ 360680 w 4570627"/>
                <a:gd name="connsiteY145" fmla="*/ 1374140 h 4820372"/>
                <a:gd name="connsiteX146" fmla="*/ 132080 w 4570627"/>
                <a:gd name="connsiteY146" fmla="*/ 1389380 h 4820372"/>
                <a:gd name="connsiteX147" fmla="*/ 69850 w 4570627"/>
                <a:gd name="connsiteY147" fmla="*/ 1356191 h 4820372"/>
                <a:gd name="connsiteX148" fmla="*/ 69850 w 4570627"/>
                <a:gd name="connsiteY148" fmla="*/ 1257300 h 4820372"/>
                <a:gd name="connsiteX149" fmla="*/ 146050 w 4570627"/>
                <a:gd name="connsiteY149" fmla="*/ 1117600 h 4820372"/>
                <a:gd name="connsiteX150" fmla="*/ 82550 w 4570627"/>
                <a:gd name="connsiteY150" fmla="*/ 1016000 h 4820372"/>
                <a:gd name="connsiteX151" fmla="*/ 25400 w 4570627"/>
                <a:gd name="connsiteY151" fmla="*/ 990600 h 4820372"/>
                <a:gd name="connsiteX152" fmla="*/ 31750 w 4570627"/>
                <a:gd name="connsiteY152" fmla="*/ 774700 h 4820372"/>
                <a:gd name="connsiteX153" fmla="*/ 0 w 4570627"/>
                <a:gd name="connsiteY153" fmla="*/ 698500 h 4820372"/>
                <a:gd name="connsiteX154" fmla="*/ 0 w 4570627"/>
                <a:gd name="connsiteY154" fmla="*/ 596900 h 4820372"/>
                <a:gd name="connsiteX155" fmla="*/ 107950 w 4570627"/>
                <a:gd name="connsiteY155" fmla="*/ 577850 h 4820372"/>
                <a:gd name="connsiteX156" fmla="*/ 127000 w 4570627"/>
                <a:gd name="connsiteY156" fmla="*/ 628650 h 4820372"/>
                <a:gd name="connsiteX157" fmla="*/ 215900 w 4570627"/>
                <a:gd name="connsiteY157" fmla="*/ 571500 h 4820372"/>
                <a:gd name="connsiteX158" fmla="*/ 368300 w 4570627"/>
                <a:gd name="connsiteY158" fmla="*/ 571500 h 4820372"/>
                <a:gd name="connsiteX159" fmla="*/ 368300 w 4570627"/>
                <a:gd name="connsiteY159" fmla="*/ 622300 h 4820372"/>
                <a:gd name="connsiteX160" fmla="*/ 495300 w 4570627"/>
                <a:gd name="connsiteY160" fmla="*/ 622300 h 4820372"/>
                <a:gd name="connsiteX161" fmla="*/ 488950 w 4570627"/>
                <a:gd name="connsiteY161" fmla="*/ 533400 h 4820372"/>
                <a:gd name="connsiteX162" fmla="*/ 488950 w 4570627"/>
                <a:gd name="connsiteY162" fmla="*/ 425450 h 4820372"/>
                <a:gd name="connsiteX163" fmla="*/ 596900 w 4570627"/>
                <a:gd name="connsiteY163" fmla="*/ 438150 h 4820372"/>
                <a:gd name="connsiteX164" fmla="*/ 679450 w 4570627"/>
                <a:gd name="connsiteY164" fmla="*/ 336550 h 4820372"/>
                <a:gd name="connsiteX165" fmla="*/ 717550 w 4570627"/>
                <a:gd name="connsiteY165" fmla="*/ 133350 h 4820372"/>
                <a:gd name="connsiteX166" fmla="*/ 812800 w 4570627"/>
                <a:gd name="connsiteY166" fmla="*/ 184150 h 4820372"/>
                <a:gd name="connsiteX167" fmla="*/ 952500 w 4570627"/>
                <a:gd name="connsiteY167" fmla="*/ 88900 h 4820372"/>
                <a:gd name="connsiteX168" fmla="*/ 979517 w 4570627"/>
                <a:gd name="connsiteY168" fmla="*/ 48377 h 4820372"/>
                <a:gd name="connsiteX169" fmla="*/ 977900 w 4570627"/>
                <a:gd name="connsiteY169" fmla="*/ 95250 h 4820372"/>
                <a:gd name="connsiteX170" fmla="*/ 1060450 w 4570627"/>
                <a:gd name="connsiteY170" fmla="*/ 0 h 4820372"/>
                <a:gd name="connsiteX0" fmla="*/ 1060450 w 4570627"/>
                <a:gd name="connsiteY0" fmla="*/ 0 h 4820372"/>
                <a:gd name="connsiteX1" fmla="*/ 1149350 w 4570627"/>
                <a:gd name="connsiteY1" fmla="*/ 38100 h 4820372"/>
                <a:gd name="connsiteX2" fmla="*/ 1263650 w 4570627"/>
                <a:gd name="connsiteY2" fmla="*/ 114300 h 4820372"/>
                <a:gd name="connsiteX3" fmla="*/ 1320800 w 4570627"/>
                <a:gd name="connsiteY3" fmla="*/ 234950 h 4820372"/>
                <a:gd name="connsiteX4" fmla="*/ 1371600 w 4570627"/>
                <a:gd name="connsiteY4" fmla="*/ 215900 h 4820372"/>
                <a:gd name="connsiteX5" fmla="*/ 1479550 w 4570627"/>
                <a:gd name="connsiteY5" fmla="*/ 323850 h 4820372"/>
                <a:gd name="connsiteX6" fmla="*/ 1530350 w 4570627"/>
                <a:gd name="connsiteY6" fmla="*/ 488950 h 4820372"/>
                <a:gd name="connsiteX7" fmla="*/ 1612900 w 4570627"/>
                <a:gd name="connsiteY7" fmla="*/ 533400 h 4820372"/>
                <a:gd name="connsiteX8" fmla="*/ 1638300 w 4570627"/>
                <a:gd name="connsiteY8" fmla="*/ 463550 h 4820372"/>
                <a:gd name="connsiteX9" fmla="*/ 1739900 w 4570627"/>
                <a:gd name="connsiteY9" fmla="*/ 469900 h 4820372"/>
                <a:gd name="connsiteX10" fmla="*/ 1746250 w 4570627"/>
                <a:gd name="connsiteY10" fmla="*/ 419100 h 4820372"/>
                <a:gd name="connsiteX11" fmla="*/ 1689100 w 4570627"/>
                <a:gd name="connsiteY11" fmla="*/ 387350 h 4820372"/>
                <a:gd name="connsiteX12" fmla="*/ 1638300 w 4570627"/>
                <a:gd name="connsiteY12" fmla="*/ 342900 h 4820372"/>
                <a:gd name="connsiteX13" fmla="*/ 1625600 w 4570627"/>
                <a:gd name="connsiteY13" fmla="*/ 292100 h 4820372"/>
                <a:gd name="connsiteX14" fmla="*/ 1778000 w 4570627"/>
                <a:gd name="connsiteY14" fmla="*/ 234950 h 4820372"/>
                <a:gd name="connsiteX15" fmla="*/ 1879600 w 4570627"/>
                <a:gd name="connsiteY15" fmla="*/ 247650 h 4820372"/>
                <a:gd name="connsiteX16" fmla="*/ 1873250 w 4570627"/>
                <a:gd name="connsiteY16" fmla="*/ 311150 h 4820372"/>
                <a:gd name="connsiteX17" fmla="*/ 1981200 w 4570627"/>
                <a:gd name="connsiteY17" fmla="*/ 304800 h 4820372"/>
                <a:gd name="connsiteX18" fmla="*/ 2006600 w 4570627"/>
                <a:gd name="connsiteY18" fmla="*/ 304800 h 4820372"/>
                <a:gd name="connsiteX19" fmla="*/ 2032000 w 4570627"/>
                <a:gd name="connsiteY19" fmla="*/ 406400 h 4820372"/>
                <a:gd name="connsiteX20" fmla="*/ 2133600 w 4570627"/>
                <a:gd name="connsiteY20" fmla="*/ 419100 h 4820372"/>
                <a:gd name="connsiteX21" fmla="*/ 2171700 w 4570627"/>
                <a:gd name="connsiteY21" fmla="*/ 285750 h 4820372"/>
                <a:gd name="connsiteX22" fmla="*/ 2146300 w 4570627"/>
                <a:gd name="connsiteY22" fmla="*/ 146050 h 4820372"/>
                <a:gd name="connsiteX23" fmla="*/ 2216150 w 4570627"/>
                <a:gd name="connsiteY23" fmla="*/ 63500 h 4820372"/>
                <a:gd name="connsiteX24" fmla="*/ 2279650 w 4570627"/>
                <a:gd name="connsiteY24" fmla="*/ 57150 h 4820372"/>
                <a:gd name="connsiteX25" fmla="*/ 2305050 w 4570627"/>
                <a:gd name="connsiteY25" fmla="*/ 152400 h 4820372"/>
                <a:gd name="connsiteX26" fmla="*/ 2374900 w 4570627"/>
                <a:gd name="connsiteY26" fmla="*/ 215900 h 4820372"/>
                <a:gd name="connsiteX27" fmla="*/ 2381250 w 4570627"/>
                <a:gd name="connsiteY27" fmla="*/ 279400 h 4820372"/>
                <a:gd name="connsiteX28" fmla="*/ 2514600 w 4570627"/>
                <a:gd name="connsiteY28" fmla="*/ 228600 h 4820372"/>
                <a:gd name="connsiteX29" fmla="*/ 2641600 w 4570627"/>
                <a:gd name="connsiteY29" fmla="*/ 203200 h 4820372"/>
                <a:gd name="connsiteX30" fmla="*/ 2686050 w 4570627"/>
                <a:gd name="connsiteY30" fmla="*/ 241300 h 4820372"/>
                <a:gd name="connsiteX31" fmla="*/ 2774950 w 4570627"/>
                <a:gd name="connsiteY31" fmla="*/ 190500 h 4820372"/>
                <a:gd name="connsiteX32" fmla="*/ 2796953 w 4570627"/>
                <a:gd name="connsiteY32" fmla="*/ 192596 h 4820372"/>
                <a:gd name="connsiteX33" fmla="*/ 2787650 w 4570627"/>
                <a:gd name="connsiteY33" fmla="*/ 171452 h 4820372"/>
                <a:gd name="connsiteX34" fmla="*/ 2857500 w 4570627"/>
                <a:gd name="connsiteY34" fmla="*/ 330201 h 4820372"/>
                <a:gd name="connsiteX35" fmla="*/ 2971800 w 4570627"/>
                <a:gd name="connsiteY35" fmla="*/ 355601 h 4820372"/>
                <a:gd name="connsiteX36" fmla="*/ 3054350 w 4570627"/>
                <a:gd name="connsiteY36" fmla="*/ 374651 h 4820372"/>
                <a:gd name="connsiteX37" fmla="*/ 3093057 w 4570627"/>
                <a:gd name="connsiteY37" fmla="*/ 529481 h 4820372"/>
                <a:gd name="connsiteX38" fmla="*/ 3011086 w 4570627"/>
                <a:gd name="connsiteY38" fmla="*/ 410623 h 4820372"/>
                <a:gd name="connsiteX39" fmla="*/ 2924805 w 4570627"/>
                <a:gd name="connsiteY39" fmla="*/ 496904 h 4820372"/>
                <a:gd name="connsiteX40" fmla="*/ 3026774 w 4570627"/>
                <a:gd name="connsiteY40" fmla="*/ 606716 h 4820372"/>
                <a:gd name="connsiteX41" fmla="*/ 3050305 w 4570627"/>
                <a:gd name="connsiteY41" fmla="*/ 779278 h 4820372"/>
                <a:gd name="connsiteX42" fmla="*/ 3348367 w 4570627"/>
                <a:gd name="connsiteY42" fmla="*/ 951841 h 4820372"/>
                <a:gd name="connsiteX43" fmla="*/ 3411117 w 4570627"/>
                <a:gd name="connsiteY43" fmla="*/ 1061653 h 4820372"/>
                <a:gd name="connsiteX44" fmla="*/ 3262086 w 4570627"/>
                <a:gd name="connsiteY44" fmla="*/ 1242059 h 4820372"/>
                <a:gd name="connsiteX45" fmla="*/ 3395429 w 4570627"/>
                <a:gd name="connsiteY45" fmla="*/ 1485215 h 4820372"/>
                <a:gd name="connsiteX46" fmla="*/ 3489554 w 4570627"/>
                <a:gd name="connsiteY46" fmla="*/ 1767589 h 4820372"/>
                <a:gd name="connsiteX47" fmla="*/ 3638585 w 4570627"/>
                <a:gd name="connsiteY47" fmla="*/ 1932308 h 4820372"/>
                <a:gd name="connsiteX48" fmla="*/ 3756241 w 4570627"/>
                <a:gd name="connsiteY48" fmla="*/ 1838183 h 4820372"/>
                <a:gd name="connsiteX49" fmla="*/ 3905271 w 4570627"/>
                <a:gd name="connsiteY49" fmla="*/ 2081339 h 4820372"/>
                <a:gd name="connsiteX50" fmla="*/ 4007240 w 4570627"/>
                <a:gd name="connsiteY50" fmla="*/ 2198995 h 4820372"/>
                <a:gd name="connsiteX51" fmla="*/ 4124896 w 4570627"/>
                <a:gd name="connsiteY51" fmla="*/ 2198995 h 4820372"/>
                <a:gd name="connsiteX52" fmla="*/ 4328833 w 4570627"/>
                <a:gd name="connsiteY52" fmla="*/ 2481369 h 4820372"/>
                <a:gd name="connsiteX53" fmla="*/ 4446489 w 4570627"/>
                <a:gd name="connsiteY53" fmla="*/ 2465682 h 4820372"/>
                <a:gd name="connsiteX54" fmla="*/ 4564145 w 4570627"/>
                <a:gd name="connsiteY54" fmla="*/ 2591182 h 4820372"/>
                <a:gd name="connsiteX55" fmla="*/ 4570627 w 4570627"/>
                <a:gd name="connsiteY55" fmla="*/ 2601182 h 4820372"/>
                <a:gd name="connsiteX56" fmla="*/ 4493946 w 4570627"/>
                <a:gd name="connsiteY56" fmla="*/ 2969250 h 4820372"/>
                <a:gd name="connsiteX57" fmla="*/ 4274322 w 4570627"/>
                <a:gd name="connsiteY57" fmla="*/ 2984937 h 4820372"/>
                <a:gd name="connsiteX58" fmla="*/ 4180197 w 4570627"/>
                <a:gd name="connsiteY58" fmla="*/ 3314374 h 4820372"/>
                <a:gd name="connsiteX59" fmla="*/ 3819386 w 4570627"/>
                <a:gd name="connsiteY59" fmla="*/ 3439874 h 4820372"/>
                <a:gd name="connsiteX60" fmla="*/ 3552699 w 4570627"/>
                <a:gd name="connsiteY60" fmla="*/ 3596749 h 4820372"/>
                <a:gd name="connsiteX61" fmla="*/ 3552699 w 4570627"/>
                <a:gd name="connsiteY61" fmla="*/ 3706561 h 4820372"/>
                <a:gd name="connsiteX62" fmla="*/ 3788011 w 4570627"/>
                <a:gd name="connsiteY62" fmla="*/ 3910498 h 4820372"/>
                <a:gd name="connsiteX63" fmla="*/ 3772323 w 4570627"/>
                <a:gd name="connsiteY63" fmla="*/ 4130123 h 4820372"/>
                <a:gd name="connsiteX64" fmla="*/ 3866448 w 4570627"/>
                <a:gd name="connsiteY64" fmla="*/ 4239935 h 4820372"/>
                <a:gd name="connsiteX65" fmla="*/ 3897823 w 4570627"/>
                <a:gd name="connsiteY65" fmla="*/ 4475248 h 4820372"/>
                <a:gd name="connsiteX66" fmla="*/ 3819386 w 4570627"/>
                <a:gd name="connsiteY66" fmla="*/ 4585060 h 4820372"/>
                <a:gd name="connsiteX67" fmla="*/ 3662511 w 4570627"/>
                <a:gd name="connsiteY67" fmla="*/ 4506622 h 4820372"/>
                <a:gd name="connsiteX68" fmla="*/ 3615449 w 4570627"/>
                <a:gd name="connsiteY68" fmla="*/ 4428185 h 4820372"/>
                <a:gd name="connsiteX69" fmla="*/ 3615449 w 4570627"/>
                <a:gd name="connsiteY69" fmla="*/ 4286998 h 4820372"/>
                <a:gd name="connsiteX70" fmla="*/ 3458574 w 4570627"/>
                <a:gd name="connsiteY70" fmla="*/ 4224248 h 4820372"/>
                <a:gd name="connsiteX71" fmla="*/ 3395824 w 4570627"/>
                <a:gd name="connsiteY71" fmla="*/ 4349748 h 4820372"/>
                <a:gd name="connsiteX72" fmla="*/ 3160513 w 4570627"/>
                <a:gd name="connsiteY72" fmla="*/ 4271310 h 4820372"/>
                <a:gd name="connsiteX73" fmla="*/ 3144825 w 4570627"/>
                <a:gd name="connsiteY73" fmla="*/ 4208560 h 4820372"/>
                <a:gd name="connsiteX74" fmla="*/ 2940888 w 4570627"/>
                <a:gd name="connsiteY74" fmla="*/ 4286998 h 4820372"/>
                <a:gd name="connsiteX75" fmla="*/ 2831076 w 4570627"/>
                <a:gd name="connsiteY75" fmla="*/ 4396810 h 4820372"/>
                <a:gd name="connsiteX76" fmla="*/ 2564389 w 4570627"/>
                <a:gd name="connsiteY76" fmla="*/ 4428185 h 4820372"/>
                <a:gd name="connsiteX77" fmla="*/ 2329077 w 4570627"/>
                <a:gd name="connsiteY77" fmla="*/ 4443873 h 4820372"/>
                <a:gd name="connsiteX78" fmla="*/ 2125140 w 4570627"/>
                <a:gd name="connsiteY78" fmla="*/ 4632122 h 4820372"/>
                <a:gd name="connsiteX79" fmla="*/ 1936891 w 4570627"/>
                <a:gd name="connsiteY79" fmla="*/ 4679185 h 4820372"/>
                <a:gd name="connsiteX80" fmla="*/ 1717266 w 4570627"/>
                <a:gd name="connsiteY80" fmla="*/ 4569372 h 4820372"/>
                <a:gd name="connsiteX81" fmla="*/ 1701579 w 4570627"/>
                <a:gd name="connsiteY81" fmla="*/ 4443873 h 4820372"/>
                <a:gd name="connsiteX82" fmla="*/ 1576079 w 4570627"/>
                <a:gd name="connsiteY82" fmla="*/ 4396810 h 4820372"/>
                <a:gd name="connsiteX83" fmla="*/ 1419205 w 4570627"/>
                <a:gd name="connsiteY83" fmla="*/ 4396810 h 4820372"/>
                <a:gd name="connsiteX84" fmla="*/ 1340768 w 4570627"/>
                <a:gd name="connsiteY84" fmla="*/ 4490935 h 4820372"/>
                <a:gd name="connsiteX85" fmla="*/ 1309393 w 4570627"/>
                <a:gd name="connsiteY85" fmla="*/ 4647810 h 4820372"/>
                <a:gd name="connsiteX86" fmla="*/ 1246643 w 4570627"/>
                <a:gd name="connsiteY86" fmla="*/ 4741935 h 4820372"/>
                <a:gd name="connsiteX87" fmla="*/ 1152518 w 4570627"/>
                <a:gd name="connsiteY87" fmla="*/ 4820372 h 4820372"/>
                <a:gd name="connsiteX88" fmla="*/ 964268 w 4570627"/>
                <a:gd name="connsiteY88" fmla="*/ 4773310 h 4820372"/>
                <a:gd name="connsiteX89" fmla="*/ 948581 w 4570627"/>
                <a:gd name="connsiteY89" fmla="*/ 4506622 h 4820372"/>
                <a:gd name="connsiteX90" fmla="*/ 807394 w 4570627"/>
                <a:gd name="connsiteY90" fmla="*/ 4412498 h 4820372"/>
                <a:gd name="connsiteX91" fmla="*/ 773692 w 4570627"/>
                <a:gd name="connsiteY91" fmla="*/ 4412498 h 4820372"/>
                <a:gd name="connsiteX92" fmla="*/ 802640 w 4570627"/>
                <a:gd name="connsiteY92" fmla="*/ 4361180 h 4820372"/>
                <a:gd name="connsiteX93" fmla="*/ 894080 w 4570627"/>
                <a:gd name="connsiteY93" fmla="*/ 4262120 h 4820372"/>
                <a:gd name="connsiteX94" fmla="*/ 1122680 w 4570627"/>
                <a:gd name="connsiteY94" fmla="*/ 4292600 h 4820372"/>
                <a:gd name="connsiteX95" fmla="*/ 1168400 w 4570627"/>
                <a:gd name="connsiteY95" fmla="*/ 4224020 h 4820372"/>
                <a:gd name="connsiteX96" fmla="*/ 1122680 w 4570627"/>
                <a:gd name="connsiteY96" fmla="*/ 4094480 h 4820372"/>
                <a:gd name="connsiteX97" fmla="*/ 1160780 w 4570627"/>
                <a:gd name="connsiteY97" fmla="*/ 4041140 h 4820372"/>
                <a:gd name="connsiteX98" fmla="*/ 1130300 w 4570627"/>
                <a:gd name="connsiteY98" fmla="*/ 3949700 h 4820372"/>
                <a:gd name="connsiteX99" fmla="*/ 1160780 w 4570627"/>
                <a:gd name="connsiteY99" fmla="*/ 3629660 h 4820372"/>
                <a:gd name="connsiteX100" fmla="*/ 1038860 w 4570627"/>
                <a:gd name="connsiteY100" fmla="*/ 3218180 h 4820372"/>
                <a:gd name="connsiteX101" fmla="*/ 1130300 w 4570627"/>
                <a:gd name="connsiteY101" fmla="*/ 3058160 h 4820372"/>
                <a:gd name="connsiteX102" fmla="*/ 1183640 w 4570627"/>
                <a:gd name="connsiteY102" fmla="*/ 3096260 h 4820372"/>
                <a:gd name="connsiteX103" fmla="*/ 1336040 w 4570627"/>
                <a:gd name="connsiteY103" fmla="*/ 2997200 h 4820372"/>
                <a:gd name="connsiteX104" fmla="*/ 1351280 w 4570627"/>
                <a:gd name="connsiteY104" fmla="*/ 2867660 h 4820372"/>
                <a:gd name="connsiteX105" fmla="*/ 1290320 w 4570627"/>
                <a:gd name="connsiteY105" fmla="*/ 2791460 h 4820372"/>
                <a:gd name="connsiteX106" fmla="*/ 1290320 w 4570627"/>
                <a:gd name="connsiteY106" fmla="*/ 2745740 h 4820372"/>
                <a:gd name="connsiteX107" fmla="*/ 1366520 w 4570627"/>
                <a:gd name="connsiteY107" fmla="*/ 2745740 h 4820372"/>
                <a:gd name="connsiteX108" fmla="*/ 1389380 w 4570627"/>
                <a:gd name="connsiteY108" fmla="*/ 2791460 h 4820372"/>
                <a:gd name="connsiteX109" fmla="*/ 1518920 w 4570627"/>
                <a:gd name="connsiteY109" fmla="*/ 2760980 h 4820372"/>
                <a:gd name="connsiteX110" fmla="*/ 1503680 w 4570627"/>
                <a:gd name="connsiteY110" fmla="*/ 2669540 h 4820372"/>
                <a:gd name="connsiteX111" fmla="*/ 1450340 w 4570627"/>
                <a:gd name="connsiteY111" fmla="*/ 2608580 h 4820372"/>
                <a:gd name="connsiteX112" fmla="*/ 1488440 w 4570627"/>
                <a:gd name="connsiteY112" fmla="*/ 2395220 h 4820372"/>
                <a:gd name="connsiteX113" fmla="*/ 1389380 w 4570627"/>
                <a:gd name="connsiteY113" fmla="*/ 2242820 h 4820372"/>
                <a:gd name="connsiteX114" fmla="*/ 1297940 w 4570627"/>
                <a:gd name="connsiteY114" fmla="*/ 2227580 h 4820372"/>
                <a:gd name="connsiteX115" fmla="*/ 1244600 w 4570627"/>
                <a:gd name="connsiteY115" fmla="*/ 2128520 h 4820372"/>
                <a:gd name="connsiteX116" fmla="*/ 1282700 w 4570627"/>
                <a:gd name="connsiteY116" fmla="*/ 2075180 h 4820372"/>
                <a:gd name="connsiteX117" fmla="*/ 1183640 w 4570627"/>
                <a:gd name="connsiteY117" fmla="*/ 1968500 h 4820372"/>
                <a:gd name="connsiteX118" fmla="*/ 1168400 w 4570627"/>
                <a:gd name="connsiteY118" fmla="*/ 1869440 h 4820372"/>
                <a:gd name="connsiteX119" fmla="*/ 1183640 w 4570627"/>
                <a:gd name="connsiteY119" fmla="*/ 1838960 h 4820372"/>
                <a:gd name="connsiteX120" fmla="*/ 1153160 w 4570627"/>
                <a:gd name="connsiteY120" fmla="*/ 1709420 h 4820372"/>
                <a:gd name="connsiteX121" fmla="*/ 1176020 w 4570627"/>
                <a:gd name="connsiteY121" fmla="*/ 1694180 h 4820372"/>
                <a:gd name="connsiteX122" fmla="*/ 1145540 w 4570627"/>
                <a:gd name="connsiteY122" fmla="*/ 1480820 h 4820372"/>
                <a:gd name="connsiteX123" fmla="*/ 1099820 w 4570627"/>
                <a:gd name="connsiteY123" fmla="*/ 1442720 h 4820372"/>
                <a:gd name="connsiteX124" fmla="*/ 1076960 w 4570627"/>
                <a:gd name="connsiteY124" fmla="*/ 1465580 h 4820372"/>
                <a:gd name="connsiteX125" fmla="*/ 1069340 w 4570627"/>
                <a:gd name="connsiteY125" fmla="*/ 1534160 h 4820372"/>
                <a:gd name="connsiteX126" fmla="*/ 970280 w 4570627"/>
                <a:gd name="connsiteY126" fmla="*/ 1541780 h 4820372"/>
                <a:gd name="connsiteX127" fmla="*/ 932180 w 4570627"/>
                <a:gd name="connsiteY127" fmla="*/ 1397000 h 4820372"/>
                <a:gd name="connsiteX128" fmla="*/ 871220 w 4570627"/>
                <a:gd name="connsiteY128" fmla="*/ 1442720 h 4820372"/>
                <a:gd name="connsiteX129" fmla="*/ 855980 w 4570627"/>
                <a:gd name="connsiteY129" fmla="*/ 1397000 h 4820372"/>
                <a:gd name="connsiteX130" fmla="*/ 924560 w 4570627"/>
                <a:gd name="connsiteY130" fmla="*/ 1336040 h 4820372"/>
                <a:gd name="connsiteX131" fmla="*/ 855980 w 4570627"/>
                <a:gd name="connsiteY131" fmla="*/ 1206500 h 4820372"/>
                <a:gd name="connsiteX132" fmla="*/ 825500 w 4570627"/>
                <a:gd name="connsiteY132" fmla="*/ 1153160 h 4820372"/>
                <a:gd name="connsiteX133" fmla="*/ 787400 w 4570627"/>
                <a:gd name="connsiteY133" fmla="*/ 1252220 h 4820372"/>
                <a:gd name="connsiteX134" fmla="*/ 772160 w 4570627"/>
                <a:gd name="connsiteY134" fmla="*/ 1191260 h 4820372"/>
                <a:gd name="connsiteX135" fmla="*/ 688340 w 4570627"/>
                <a:gd name="connsiteY135" fmla="*/ 1244600 h 4820372"/>
                <a:gd name="connsiteX136" fmla="*/ 695960 w 4570627"/>
                <a:gd name="connsiteY136" fmla="*/ 1099820 h 4820372"/>
                <a:gd name="connsiteX137" fmla="*/ 497840 w 4570627"/>
                <a:gd name="connsiteY137" fmla="*/ 1084580 h 4820372"/>
                <a:gd name="connsiteX138" fmla="*/ 353060 w 4570627"/>
                <a:gd name="connsiteY138" fmla="*/ 1137920 h 4820372"/>
                <a:gd name="connsiteX139" fmla="*/ 467360 w 4570627"/>
                <a:gd name="connsiteY139" fmla="*/ 1198880 h 4820372"/>
                <a:gd name="connsiteX140" fmla="*/ 474980 w 4570627"/>
                <a:gd name="connsiteY140" fmla="*/ 1275080 h 4820372"/>
                <a:gd name="connsiteX141" fmla="*/ 391160 w 4570627"/>
                <a:gd name="connsiteY141" fmla="*/ 1275080 h 4820372"/>
                <a:gd name="connsiteX142" fmla="*/ 360680 w 4570627"/>
                <a:gd name="connsiteY142" fmla="*/ 1374140 h 4820372"/>
                <a:gd name="connsiteX143" fmla="*/ 132080 w 4570627"/>
                <a:gd name="connsiteY143" fmla="*/ 1389380 h 4820372"/>
                <a:gd name="connsiteX144" fmla="*/ 69850 w 4570627"/>
                <a:gd name="connsiteY144" fmla="*/ 1356191 h 4820372"/>
                <a:gd name="connsiteX145" fmla="*/ 69850 w 4570627"/>
                <a:gd name="connsiteY145" fmla="*/ 1257300 h 4820372"/>
                <a:gd name="connsiteX146" fmla="*/ 146050 w 4570627"/>
                <a:gd name="connsiteY146" fmla="*/ 1117600 h 4820372"/>
                <a:gd name="connsiteX147" fmla="*/ 82550 w 4570627"/>
                <a:gd name="connsiteY147" fmla="*/ 1016000 h 4820372"/>
                <a:gd name="connsiteX148" fmla="*/ 25400 w 4570627"/>
                <a:gd name="connsiteY148" fmla="*/ 990600 h 4820372"/>
                <a:gd name="connsiteX149" fmla="*/ 31750 w 4570627"/>
                <a:gd name="connsiteY149" fmla="*/ 774700 h 4820372"/>
                <a:gd name="connsiteX150" fmla="*/ 0 w 4570627"/>
                <a:gd name="connsiteY150" fmla="*/ 698500 h 4820372"/>
                <a:gd name="connsiteX151" fmla="*/ 0 w 4570627"/>
                <a:gd name="connsiteY151" fmla="*/ 596900 h 4820372"/>
                <a:gd name="connsiteX152" fmla="*/ 107950 w 4570627"/>
                <a:gd name="connsiteY152" fmla="*/ 577850 h 4820372"/>
                <a:gd name="connsiteX153" fmla="*/ 127000 w 4570627"/>
                <a:gd name="connsiteY153" fmla="*/ 628650 h 4820372"/>
                <a:gd name="connsiteX154" fmla="*/ 215900 w 4570627"/>
                <a:gd name="connsiteY154" fmla="*/ 571500 h 4820372"/>
                <a:gd name="connsiteX155" fmla="*/ 368300 w 4570627"/>
                <a:gd name="connsiteY155" fmla="*/ 571500 h 4820372"/>
                <a:gd name="connsiteX156" fmla="*/ 368300 w 4570627"/>
                <a:gd name="connsiteY156" fmla="*/ 622300 h 4820372"/>
                <a:gd name="connsiteX157" fmla="*/ 495300 w 4570627"/>
                <a:gd name="connsiteY157" fmla="*/ 622300 h 4820372"/>
                <a:gd name="connsiteX158" fmla="*/ 488950 w 4570627"/>
                <a:gd name="connsiteY158" fmla="*/ 533400 h 4820372"/>
                <a:gd name="connsiteX159" fmla="*/ 488950 w 4570627"/>
                <a:gd name="connsiteY159" fmla="*/ 425450 h 4820372"/>
                <a:gd name="connsiteX160" fmla="*/ 596900 w 4570627"/>
                <a:gd name="connsiteY160" fmla="*/ 438150 h 4820372"/>
                <a:gd name="connsiteX161" fmla="*/ 679450 w 4570627"/>
                <a:gd name="connsiteY161" fmla="*/ 336550 h 4820372"/>
                <a:gd name="connsiteX162" fmla="*/ 717550 w 4570627"/>
                <a:gd name="connsiteY162" fmla="*/ 133350 h 4820372"/>
                <a:gd name="connsiteX163" fmla="*/ 812800 w 4570627"/>
                <a:gd name="connsiteY163" fmla="*/ 184150 h 4820372"/>
                <a:gd name="connsiteX164" fmla="*/ 952500 w 4570627"/>
                <a:gd name="connsiteY164" fmla="*/ 88900 h 4820372"/>
                <a:gd name="connsiteX165" fmla="*/ 979517 w 4570627"/>
                <a:gd name="connsiteY165" fmla="*/ 48377 h 4820372"/>
                <a:gd name="connsiteX166" fmla="*/ 977900 w 4570627"/>
                <a:gd name="connsiteY166" fmla="*/ 95250 h 4820372"/>
                <a:gd name="connsiteX167" fmla="*/ 1060450 w 4570627"/>
                <a:gd name="connsiteY167" fmla="*/ 0 h 4820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4570627" h="4820372">
                  <a:moveTo>
                    <a:pt x="1060450" y="0"/>
                  </a:moveTo>
                  <a:lnTo>
                    <a:pt x="1149350" y="38100"/>
                  </a:lnTo>
                  <a:lnTo>
                    <a:pt x="1263650" y="114300"/>
                  </a:lnTo>
                  <a:lnTo>
                    <a:pt x="1320800" y="234950"/>
                  </a:lnTo>
                  <a:lnTo>
                    <a:pt x="1371600" y="215900"/>
                  </a:lnTo>
                  <a:lnTo>
                    <a:pt x="1479550" y="323850"/>
                  </a:lnTo>
                  <a:lnTo>
                    <a:pt x="1530350" y="488950"/>
                  </a:lnTo>
                  <a:lnTo>
                    <a:pt x="1612900" y="533400"/>
                  </a:lnTo>
                  <a:lnTo>
                    <a:pt x="1638300" y="463550"/>
                  </a:lnTo>
                  <a:lnTo>
                    <a:pt x="1739900" y="469900"/>
                  </a:lnTo>
                  <a:lnTo>
                    <a:pt x="1746250" y="419100"/>
                  </a:lnTo>
                  <a:lnTo>
                    <a:pt x="1689100" y="387350"/>
                  </a:lnTo>
                  <a:lnTo>
                    <a:pt x="1638300" y="342900"/>
                  </a:lnTo>
                  <a:lnTo>
                    <a:pt x="1625600" y="292100"/>
                  </a:lnTo>
                  <a:lnTo>
                    <a:pt x="1778000" y="234950"/>
                  </a:lnTo>
                  <a:lnTo>
                    <a:pt x="1879600" y="247650"/>
                  </a:lnTo>
                  <a:lnTo>
                    <a:pt x="1873250" y="311150"/>
                  </a:lnTo>
                  <a:lnTo>
                    <a:pt x="1981200" y="304800"/>
                  </a:lnTo>
                  <a:lnTo>
                    <a:pt x="2006600" y="304800"/>
                  </a:lnTo>
                  <a:lnTo>
                    <a:pt x="2032000" y="406400"/>
                  </a:lnTo>
                  <a:lnTo>
                    <a:pt x="2133600" y="419100"/>
                  </a:lnTo>
                  <a:lnTo>
                    <a:pt x="2171700" y="285750"/>
                  </a:lnTo>
                  <a:lnTo>
                    <a:pt x="2146300" y="146050"/>
                  </a:lnTo>
                  <a:lnTo>
                    <a:pt x="2216150" y="63500"/>
                  </a:lnTo>
                  <a:lnTo>
                    <a:pt x="2279650" y="57150"/>
                  </a:lnTo>
                  <a:lnTo>
                    <a:pt x="2305050" y="152400"/>
                  </a:lnTo>
                  <a:lnTo>
                    <a:pt x="2374900" y="215900"/>
                  </a:lnTo>
                  <a:lnTo>
                    <a:pt x="2381250" y="279400"/>
                  </a:lnTo>
                  <a:lnTo>
                    <a:pt x="2514600" y="228600"/>
                  </a:lnTo>
                  <a:lnTo>
                    <a:pt x="2641600" y="203200"/>
                  </a:lnTo>
                  <a:lnTo>
                    <a:pt x="2686050" y="241300"/>
                  </a:lnTo>
                  <a:lnTo>
                    <a:pt x="2774950" y="190500"/>
                  </a:lnTo>
                  <a:lnTo>
                    <a:pt x="2796953" y="192596"/>
                  </a:lnTo>
                  <a:lnTo>
                    <a:pt x="2787650" y="171452"/>
                  </a:lnTo>
                  <a:lnTo>
                    <a:pt x="2857500" y="330201"/>
                  </a:lnTo>
                  <a:lnTo>
                    <a:pt x="2971800" y="355601"/>
                  </a:lnTo>
                  <a:lnTo>
                    <a:pt x="3054350" y="374651"/>
                  </a:lnTo>
                  <a:lnTo>
                    <a:pt x="3093057" y="529481"/>
                  </a:lnTo>
                  <a:lnTo>
                    <a:pt x="3011086" y="410623"/>
                  </a:lnTo>
                  <a:lnTo>
                    <a:pt x="2924805" y="496904"/>
                  </a:lnTo>
                  <a:lnTo>
                    <a:pt x="3026774" y="606716"/>
                  </a:lnTo>
                  <a:lnTo>
                    <a:pt x="3050305" y="779278"/>
                  </a:lnTo>
                  <a:lnTo>
                    <a:pt x="3348367" y="951841"/>
                  </a:lnTo>
                  <a:lnTo>
                    <a:pt x="3411117" y="1061653"/>
                  </a:lnTo>
                  <a:lnTo>
                    <a:pt x="3262086" y="1242059"/>
                  </a:lnTo>
                  <a:lnTo>
                    <a:pt x="3395429" y="1485215"/>
                  </a:lnTo>
                  <a:lnTo>
                    <a:pt x="3489554" y="1767589"/>
                  </a:lnTo>
                  <a:lnTo>
                    <a:pt x="3638585" y="1932308"/>
                  </a:lnTo>
                  <a:lnTo>
                    <a:pt x="3756241" y="1838183"/>
                  </a:lnTo>
                  <a:lnTo>
                    <a:pt x="3905271" y="2081339"/>
                  </a:lnTo>
                  <a:lnTo>
                    <a:pt x="4007240" y="2198995"/>
                  </a:lnTo>
                  <a:lnTo>
                    <a:pt x="4124896" y="2198995"/>
                  </a:lnTo>
                  <a:lnTo>
                    <a:pt x="4328833" y="2481369"/>
                  </a:lnTo>
                  <a:lnTo>
                    <a:pt x="4446489" y="2465682"/>
                  </a:lnTo>
                  <a:lnTo>
                    <a:pt x="4564145" y="2591182"/>
                  </a:lnTo>
                  <a:lnTo>
                    <a:pt x="4570627" y="2601182"/>
                  </a:lnTo>
                  <a:lnTo>
                    <a:pt x="4493946" y="2969250"/>
                  </a:lnTo>
                  <a:lnTo>
                    <a:pt x="4274322" y="2984937"/>
                  </a:lnTo>
                  <a:lnTo>
                    <a:pt x="4180197" y="3314374"/>
                  </a:lnTo>
                  <a:lnTo>
                    <a:pt x="3819386" y="3439874"/>
                  </a:lnTo>
                  <a:lnTo>
                    <a:pt x="3552699" y="3596749"/>
                  </a:lnTo>
                  <a:lnTo>
                    <a:pt x="3552699" y="3706561"/>
                  </a:lnTo>
                  <a:lnTo>
                    <a:pt x="3788011" y="3910498"/>
                  </a:lnTo>
                  <a:lnTo>
                    <a:pt x="3772323" y="4130123"/>
                  </a:lnTo>
                  <a:lnTo>
                    <a:pt x="3866448" y="4239935"/>
                  </a:lnTo>
                  <a:lnTo>
                    <a:pt x="3897823" y="4475248"/>
                  </a:lnTo>
                  <a:lnTo>
                    <a:pt x="3819386" y="4585060"/>
                  </a:lnTo>
                  <a:lnTo>
                    <a:pt x="3662511" y="4506622"/>
                  </a:lnTo>
                  <a:lnTo>
                    <a:pt x="3615449" y="4428185"/>
                  </a:lnTo>
                  <a:lnTo>
                    <a:pt x="3615449" y="4286998"/>
                  </a:lnTo>
                  <a:lnTo>
                    <a:pt x="3458574" y="4224248"/>
                  </a:lnTo>
                  <a:lnTo>
                    <a:pt x="3395824" y="4349748"/>
                  </a:lnTo>
                  <a:lnTo>
                    <a:pt x="3160513" y="4271310"/>
                  </a:lnTo>
                  <a:lnTo>
                    <a:pt x="3144825" y="4208560"/>
                  </a:lnTo>
                  <a:lnTo>
                    <a:pt x="2940888" y="4286998"/>
                  </a:lnTo>
                  <a:lnTo>
                    <a:pt x="2831076" y="4396810"/>
                  </a:lnTo>
                  <a:cubicBezTo>
                    <a:pt x="2627645" y="4433798"/>
                    <a:pt x="2716977" y="4428185"/>
                    <a:pt x="2564389" y="4428185"/>
                  </a:cubicBezTo>
                  <a:lnTo>
                    <a:pt x="2329077" y="4443873"/>
                  </a:lnTo>
                  <a:lnTo>
                    <a:pt x="2125140" y="4632122"/>
                  </a:lnTo>
                  <a:lnTo>
                    <a:pt x="1936891" y="4679185"/>
                  </a:lnTo>
                  <a:lnTo>
                    <a:pt x="1717266" y="4569372"/>
                  </a:lnTo>
                  <a:lnTo>
                    <a:pt x="1701579" y="4443873"/>
                  </a:lnTo>
                  <a:lnTo>
                    <a:pt x="1576079" y="4396810"/>
                  </a:lnTo>
                  <a:lnTo>
                    <a:pt x="1419205" y="4396810"/>
                  </a:lnTo>
                  <a:lnTo>
                    <a:pt x="1340768" y="4490935"/>
                  </a:lnTo>
                  <a:cubicBezTo>
                    <a:pt x="1324262" y="4639472"/>
                    <a:pt x="1358562" y="4598640"/>
                    <a:pt x="1309393" y="4647810"/>
                  </a:cubicBezTo>
                  <a:lnTo>
                    <a:pt x="1246643" y="4741935"/>
                  </a:lnTo>
                  <a:lnTo>
                    <a:pt x="1152518" y="4820372"/>
                  </a:lnTo>
                  <a:lnTo>
                    <a:pt x="964268" y="4773310"/>
                  </a:lnTo>
                  <a:lnTo>
                    <a:pt x="948581" y="4506622"/>
                  </a:lnTo>
                  <a:lnTo>
                    <a:pt x="807394" y="4412498"/>
                  </a:lnTo>
                  <a:lnTo>
                    <a:pt x="773692" y="4412498"/>
                  </a:lnTo>
                  <a:lnTo>
                    <a:pt x="802640" y="4361180"/>
                  </a:lnTo>
                  <a:lnTo>
                    <a:pt x="894080" y="4262120"/>
                  </a:lnTo>
                  <a:lnTo>
                    <a:pt x="1122680" y="4292600"/>
                  </a:lnTo>
                  <a:lnTo>
                    <a:pt x="1168400" y="4224020"/>
                  </a:lnTo>
                  <a:lnTo>
                    <a:pt x="1122680" y="4094480"/>
                  </a:lnTo>
                  <a:lnTo>
                    <a:pt x="1160780" y="4041140"/>
                  </a:lnTo>
                  <a:lnTo>
                    <a:pt x="1130300" y="3949700"/>
                  </a:lnTo>
                  <a:lnTo>
                    <a:pt x="1160780" y="3629660"/>
                  </a:lnTo>
                  <a:lnTo>
                    <a:pt x="1038860" y="3218180"/>
                  </a:lnTo>
                  <a:lnTo>
                    <a:pt x="1130300" y="3058160"/>
                  </a:lnTo>
                  <a:lnTo>
                    <a:pt x="1183640" y="3096260"/>
                  </a:lnTo>
                  <a:lnTo>
                    <a:pt x="1336040" y="2997200"/>
                  </a:lnTo>
                  <a:lnTo>
                    <a:pt x="1351280" y="2867660"/>
                  </a:lnTo>
                  <a:lnTo>
                    <a:pt x="1290320" y="2791460"/>
                  </a:lnTo>
                  <a:lnTo>
                    <a:pt x="1290320" y="2745740"/>
                  </a:lnTo>
                  <a:lnTo>
                    <a:pt x="1366520" y="2745740"/>
                  </a:lnTo>
                  <a:lnTo>
                    <a:pt x="1389380" y="2791460"/>
                  </a:lnTo>
                  <a:lnTo>
                    <a:pt x="1518920" y="2760980"/>
                  </a:lnTo>
                  <a:lnTo>
                    <a:pt x="1503680" y="2669540"/>
                  </a:lnTo>
                  <a:lnTo>
                    <a:pt x="1450340" y="2608580"/>
                  </a:lnTo>
                  <a:lnTo>
                    <a:pt x="1488440" y="2395220"/>
                  </a:lnTo>
                  <a:lnTo>
                    <a:pt x="1389380" y="2242820"/>
                  </a:lnTo>
                  <a:lnTo>
                    <a:pt x="1297940" y="2227580"/>
                  </a:lnTo>
                  <a:lnTo>
                    <a:pt x="1244600" y="2128520"/>
                  </a:lnTo>
                  <a:lnTo>
                    <a:pt x="1282700" y="2075180"/>
                  </a:lnTo>
                  <a:lnTo>
                    <a:pt x="1183640" y="1968500"/>
                  </a:lnTo>
                  <a:lnTo>
                    <a:pt x="1168400" y="1869440"/>
                  </a:lnTo>
                  <a:lnTo>
                    <a:pt x="1183640" y="1838960"/>
                  </a:lnTo>
                  <a:lnTo>
                    <a:pt x="1153160" y="1709420"/>
                  </a:lnTo>
                  <a:lnTo>
                    <a:pt x="1176020" y="1694180"/>
                  </a:lnTo>
                  <a:lnTo>
                    <a:pt x="1145540" y="1480820"/>
                  </a:lnTo>
                  <a:lnTo>
                    <a:pt x="1099820" y="1442720"/>
                  </a:lnTo>
                  <a:lnTo>
                    <a:pt x="1076960" y="1465580"/>
                  </a:lnTo>
                  <a:lnTo>
                    <a:pt x="1069340" y="1534160"/>
                  </a:lnTo>
                  <a:lnTo>
                    <a:pt x="970280" y="1541780"/>
                  </a:lnTo>
                  <a:lnTo>
                    <a:pt x="932180" y="1397000"/>
                  </a:lnTo>
                  <a:lnTo>
                    <a:pt x="871220" y="1442720"/>
                  </a:lnTo>
                  <a:lnTo>
                    <a:pt x="855980" y="1397000"/>
                  </a:lnTo>
                  <a:lnTo>
                    <a:pt x="924560" y="1336040"/>
                  </a:lnTo>
                  <a:lnTo>
                    <a:pt x="855980" y="1206500"/>
                  </a:lnTo>
                  <a:lnTo>
                    <a:pt x="825500" y="1153160"/>
                  </a:lnTo>
                  <a:lnTo>
                    <a:pt x="787400" y="1252220"/>
                  </a:lnTo>
                  <a:lnTo>
                    <a:pt x="772160" y="1191260"/>
                  </a:lnTo>
                  <a:lnTo>
                    <a:pt x="688340" y="1244600"/>
                  </a:lnTo>
                  <a:lnTo>
                    <a:pt x="695960" y="1099820"/>
                  </a:lnTo>
                  <a:lnTo>
                    <a:pt x="497840" y="1084580"/>
                  </a:lnTo>
                  <a:lnTo>
                    <a:pt x="353060" y="1137920"/>
                  </a:lnTo>
                  <a:lnTo>
                    <a:pt x="467360" y="1198880"/>
                  </a:lnTo>
                  <a:lnTo>
                    <a:pt x="474980" y="1275080"/>
                  </a:lnTo>
                  <a:lnTo>
                    <a:pt x="391160" y="1275080"/>
                  </a:lnTo>
                  <a:lnTo>
                    <a:pt x="360680" y="1374140"/>
                  </a:lnTo>
                  <a:lnTo>
                    <a:pt x="132080" y="1389380"/>
                  </a:lnTo>
                  <a:lnTo>
                    <a:pt x="69850" y="1356191"/>
                  </a:lnTo>
                  <a:lnTo>
                    <a:pt x="69850" y="1257300"/>
                  </a:lnTo>
                  <a:lnTo>
                    <a:pt x="146050" y="1117600"/>
                  </a:lnTo>
                  <a:lnTo>
                    <a:pt x="82550" y="1016000"/>
                  </a:lnTo>
                  <a:lnTo>
                    <a:pt x="25400" y="990600"/>
                  </a:lnTo>
                  <a:lnTo>
                    <a:pt x="31750" y="774700"/>
                  </a:lnTo>
                  <a:lnTo>
                    <a:pt x="0" y="698500"/>
                  </a:lnTo>
                  <a:lnTo>
                    <a:pt x="0" y="596900"/>
                  </a:lnTo>
                  <a:lnTo>
                    <a:pt x="107950" y="577850"/>
                  </a:lnTo>
                  <a:lnTo>
                    <a:pt x="127000" y="628650"/>
                  </a:lnTo>
                  <a:lnTo>
                    <a:pt x="215900" y="571500"/>
                  </a:lnTo>
                  <a:lnTo>
                    <a:pt x="368300" y="571500"/>
                  </a:lnTo>
                  <a:lnTo>
                    <a:pt x="368300" y="622300"/>
                  </a:lnTo>
                  <a:lnTo>
                    <a:pt x="495300" y="622300"/>
                  </a:lnTo>
                  <a:lnTo>
                    <a:pt x="488950" y="533400"/>
                  </a:lnTo>
                  <a:lnTo>
                    <a:pt x="488950" y="425450"/>
                  </a:lnTo>
                  <a:lnTo>
                    <a:pt x="596900" y="438150"/>
                  </a:lnTo>
                  <a:lnTo>
                    <a:pt x="679450" y="336550"/>
                  </a:lnTo>
                  <a:lnTo>
                    <a:pt x="717550" y="133350"/>
                  </a:lnTo>
                  <a:lnTo>
                    <a:pt x="812800" y="184150"/>
                  </a:lnTo>
                  <a:lnTo>
                    <a:pt x="952500" y="88900"/>
                  </a:lnTo>
                  <a:lnTo>
                    <a:pt x="979517" y="48377"/>
                  </a:lnTo>
                  <a:lnTo>
                    <a:pt x="977900" y="95250"/>
                  </a:lnTo>
                  <a:lnTo>
                    <a:pt x="1060450" y="0"/>
                  </a:lnTo>
                  <a:close/>
                </a:path>
              </a:pathLst>
            </a:custGeom>
            <a:solidFill>
              <a:srgbClr val="D7DCE1"/>
            </a:solidFill>
            <a:ln w="6350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B Sans" panose="020B050205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" name="_Scale" hidden="1">
              <a:extLst>
                <a:ext uri="{FF2B5EF4-FFF2-40B4-BE49-F238E27FC236}">
                  <a16:creationId xmlns:a16="http://schemas.microsoft.com/office/drawing/2014/main" id="{E19A7D6D-485D-4DCB-992C-73B99EB4D192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757753" y="2422827"/>
              <a:ext cx="2498411" cy="3292023"/>
            </a:xfrm>
            <a:prstGeom prst="trapezoid">
              <a:avLst>
                <a:gd name="adj" fmla="val 867"/>
              </a:avLst>
            </a:prstGeom>
            <a:noFill/>
            <a:ln w="635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9CAFBD"/>
                  </a:solidFill>
                </a14:hiddenFill>
              </a:ext>
              <a:ext uri="{91240B29-F687-4F45-9708-019B960494DF}">
                <a14:hiddenLine xmlns:a14="http://schemas.microsoft.com/office/drawing/2010/main" w="6350" cap="flat" cmpd="sng" algn="ctr">
                  <a:solidFill>
                    <a:srgbClr val="4D4D4D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_Point" hidden="1">
              <a:extLst>
                <a:ext uri="{FF2B5EF4-FFF2-40B4-BE49-F238E27FC236}">
                  <a16:creationId xmlns:a16="http://schemas.microsoft.com/office/drawing/2014/main" id="{CEF3A208-A594-400A-83CB-7DE45B4AE71B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gray">
            <a:xfrm>
              <a:off x="1712550" y="3891800"/>
              <a:ext cx="70023" cy="70023"/>
            </a:xfrm>
            <a:prstGeom prst="ellipse">
              <a:avLst/>
            </a:prstGeom>
            <a:solidFill>
              <a:srgbClr val="00A099"/>
            </a:solidFill>
            <a:ln w="6350" cmpd="sng">
              <a:solidFill>
                <a:srgbClr val="FFFFFF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EBEF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" name="_Label" hidden="1">
              <a:extLst>
                <a:ext uri="{FF2B5EF4-FFF2-40B4-BE49-F238E27FC236}">
                  <a16:creationId xmlns:a16="http://schemas.microsoft.com/office/drawing/2014/main" id="{EE9FEE95-44EE-44A7-A183-0359CCF21B54}"/>
                </a:ext>
              </a:extLst>
            </p:cNvPr>
            <p:cNvSpPr txBox="1"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1813258" y="3834479"/>
              <a:ext cx="395404" cy="184666"/>
            </a:xfrm>
            <a:prstGeom prst="rect">
              <a:avLst/>
            </a:prstGeom>
            <a:noFill/>
            <a:ln w="63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9CAFBD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</a14:hiddenLine>
              </a:ext>
            </a:extLst>
          </p:spPr>
          <p:txBody>
            <a:bodyPr vert="horz" wrap="none" lIns="71965" tIns="0" rIns="71965" bIns="0" rtlCol="0" anchor="ctr">
              <a:spAutoFit/>
            </a:bodyPr>
            <a:lstStyle>
              <a:defPPr>
                <a:defRPr lang="de-DE"/>
              </a:defPPr>
              <a:lvl1pPr indent="0">
                <a:spcBef>
                  <a:spcPct val="20000"/>
                </a:spcBef>
                <a:buClr>
                  <a:srgbClr val="2382BA"/>
                </a:buClr>
                <a:buSzPct val="70000"/>
                <a:buFont typeface="Wingdings" pitchFamily="2" charset="2"/>
                <a:buNone/>
                <a:defRPr sz="1200" b="1">
                  <a:solidFill>
                    <a:srgbClr val="4D4D4D"/>
                  </a:solidFill>
                  <a:latin typeface="Arial" panose="020B0604020202020204" pitchFamily="34" charset="0"/>
                  <a:ea typeface="Open Sans Semibold" panose="020B0706030804020204" pitchFamily="34" charset="0"/>
                  <a:cs typeface="Arial" panose="020B0604020202020204" pitchFamily="34" charset="0"/>
                </a:defRPr>
              </a:lvl1pPr>
              <a:lvl2pPr marL="361950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2pPr>
              <a:lvl3pPr marL="542925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3pPr>
              <a:lvl4pPr marL="714375" indent="-171450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4pPr>
              <a:lvl5pPr marL="895350" indent="-180975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382BA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B Sans" panose="020B0502050202020204"/>
                  <a:ea typeface="Open Sans Semibold" panose="020B0706030804020204" pitchFamily="34" charset="0"/>
                  <a:cs typeface="Arial" panose="020B0604020202020204" pitchFamily="34" charset="0"/>
                </a:rPr>
                <a:t>xxx</a:t>
              </a:r>
            </a:p>
          </p:txBody>
        </p:sp>
        <p:sp>
          <p:nvSpPr>
            <p:cNvPr id="53" name="20099_Point">
              <a:extLst>
                <a:ext uri="{FF2B5EF4-FFF2-40B4-BE49-F238E27FC236}">
                  <a16:creationId xmlns:a16="http://schemas.microsoft.com/office/drawing/2014/main" id="{00B9DCD1-1EBE-44D2-AE07-6EBCAAF08E91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1723012" y="3202471"/>
              <a:ext cx="165600" cy="165600"/>
            </a:xfrm>
            <a:prstGeom prst="ellipse">
              <a:avLst/>
            </a:prstGeom>
            <a:solidFill>
              <a:schemeClr val="bg1"/>
            </a:solidFill>
            <a:ln w="15875" cmpd="sng">
              <a:solidFill>
                <a:schemeClr val="bg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EBEF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50667_Point">
              <a:extLst>
                <a:ext uri="{FF2B5EF4-FFF2-40B4-BE49-F238E27FC236}">
                  <a16:creationId xmlns:a16="http://schemas.microsoft.com/office/drawing/2014/main" id="{765DFA67-392E-4EB2-910E-4D4BA98BFD97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gray">
            <a:xfrm>
              <a:off x="769762" y="4075692"/>
              <a:ext cx="70230" cy="63845"/>
            </a:xfrm>
            <a:prstGeom prst="ellipse">
              <a:avLst/>
            </a:prstGeom>
            <a:solidFill>
              <a:schemeClr val="bg1"/>
            </a:solidFill>
            <a:ln w="28575" cmpd="sng">
              <a:solidFill>
                <a:srgbClr val="00A099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err="1">
                <a:ln>
                  <a:noFill/>
                </a:ln>
                <a:solidFill>
                  <a:srgbClr val="EBEF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37B10381-5B28-4FEE-983F-845E491C9A44}"/>
              </a:ext>
            </a:extLst>
          </p:cNvPr>
          <p:cNvCxnSpPr>
            <a:cxnSpLocks/>
            <a:endCxn id="53" idx="3"/>
          </p:cNvCxnSpPr>
          <p:nvPr/>
        </p:nvCxnSpPr>
        <p:spPr>
          <a:xfrm flipV="1">
            <a:off x="434424" y="3343819"/>
            <a:ext cx="1592240" cy="747724"/>
          </a:xfrm>
          <a:prstGeom prst="line">
            <a:avLst/>
          </a:prstGeom>
          <a:ln w="19050">
            <a:solidFill>
              <a:srgbClr val="00A0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28C2CCA4-AB58-4DF3-BE23-423EEC4246D3}"/>
              </a:ext>
            </a:extLst>
          </p:cNvPr>
          <p:cNvCxnSpPr>
            <a:cxnSpLocks/>
          </p:cNvCxnSpPr>
          <p:nvPr/>
        </p:nvCxnSpPr>
        <p:spPr>
          <a:xfrm flipH="1">
            <a:off x="481912" y="3904916"/>
            <a:ext cx="539876" cy="145807"/>
          </a:xfrm>
          <a:prstGeom prst="line">
            <a:avLst/>
          </a:prstGeom>
          <a:ln w="19050">
            <a:solidFill>
              <a:srgbClr val="00A0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188E40E7-C9B8-44E4-9A5D-DF44C97C0266}"/>
              </a:ext>
            </a:extLst>
          </p:cNvPr>
          <p:cNvCxnSpPr>
            <a:cxnSpLocks/>
          </p:cNvCxnSpPr>
          <p:nvPr/>
        </p:nvCxnSpPr>
        <p:spPr>
          <a:xfrm>
            <a:off x="481912" y="4050723"/>
            <a:ext cx="1130311" cy="459510"/>
          </a:xfrm>
          <a:prstGeom prst="line">
            <a:avLst/>
          </a:prstGeom>
          <a:ln w="19050">
            <a:solidFill>
              <a:srgbClr val="00A0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D4D65552-CCB7-4C7D-9A6A-C6EFE18A9DD1}"/>
              </a:ext>
            </a:extLst>
          </p:cNvPr>
          <p:cNvCxnSpPr>
            <a:cxnSpLocks/>
          </p:cNvCxnSpPr>
          <p:nvPr/>
        </p:nvCxnSpPr>
        <p:spPr>
          <a:xfrm>
            <a:off x="481912" y="4050723"/>
            <a:ext cx="1138422" cy="900978"/>
          </a:xfrm>
          <a:prstGeom prst="line">
            <a:avLst/>
          </a:prstGeom>
          <a:ln w="19050">
            <a:solidFill>
              <a:srgbClr val="00A0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object 29">
            <a:extLst>
              <a:ext uri="{FF2B5EF4-FFF2-40B4-BE49-F238E27FC236}">
                <a16:creationId xmlns:a16="http://schemas.microsoft.com/office/drawing/2014/main" id="{60A4462E-4DFB-4022-9E92-D378C2FADE5D}"/>
              </a:ext>
            </a:extLst>
          </p:cNvPr>
          <p:cNvSpPr txBox="1"/>
          <p:nvPr/>
        </p:nvSpPr>
        <p:spPr>
          <a:xfrm>
            <a:off x="1610737" y="2975933"/>
            <a:ext cx="104466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03935" algn="l"/>
              </a:tabLst>
              <a:defRPr/>
            </a:pPr>
            <a:r>
              <a:rPr kumimoji="0" lang="de-DE" sz="12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DB Sans"/>
              </a:rPr>
              <a:t>Hannover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DB Sans"/>
            </a:endParaRPr>
          </a:p>
        </p:txBody>
      </p:sp>
      <p:sp>
        <p:nvSpPr>
          <p:cNvPr id="91" name="object 29">
            <a:extLst>
              <a:ext uri="{FF2B5EF4-FFF2-40B4-BE49-F238E27FC236}">
                <a16:creationId xmlns:a16="http://schemas.microsoft.com/office/drawing/2014/main" id="{B9081CA4-5F53-4959-B0C3-DA2511125A99}"/>
              </a:ext>
            </a:extLst>
          </p:cNvPr>
          <p:cNvSpPr txBox="1"/>
          <p:nvPr/>
        </p:nvSpPr>
        <p:spPr>
          <a:xfrm>
            <a:off x="953094" y="3748878"/>
            <a:ext cx="104466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03935" algn="l"/>
              </a:tabLst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DB Sans"/>
              </a:rPr>
              <a:t>Düsseldorf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DB Sans"/>
            </a:endParaRPr>
          </a:p>
        </p:txBody>
      </p:sp>
      <p:sp>
        <p:nvSpPr>
          <p:cNvPr id="94" name="object 29">
            <a:extLst>
              <a:ext uri="{FF2B5EF4-FFF2-40B4-BE49-F238E27FC236}">
                <a16:creationId xmlns:a16="http://schemas.microsoft.com/office/drawing/2014/main" id="{00911F7F-E07D-4B65-AFF9-0E311995C0AC}"/>
              </a:ext>
            </a:extLst>
          </p:cNvPr>
          <p:cNvSpPr txBox="1"/>
          <p:nvPr/>
        </p:nvSpPr>
        <p:spPr>
          <a:xfrm>
            <a:off x="1547984" y="4935456"/>
            <a:ext cx="104466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03935" algn="l"/>
              </a:tabLst>
              <a:defRPr/>
            </a:pPr>
            <a:r>
              <a:rPr kumimoji="0" lang="de-DE" sz="12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DB Sans"/>
              </a:rPr>
              <a:t>Mannheim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DB Sans"/>
            </a:endParaRPr>
          </a:p>
        </p:txBody>
      </p:sp>
      <p:sp>
        <p:nvSpPr>
          <p:cNvPr id="105" name="object 29">
            <a:extLst>
              <a:ext uri="{FF2B5EF4-FFF2-40B4-BE49-F238E27FC236}">
                <a16:creationId xmlns:a16="http://schemas.microsoft.com/office/drawing/2014/main" id="{6B27BE7B-D344-4D14-9192-75D48A7BE094}"/>
              </a:ext>
            </a:extLst>
          </p:cNvPr>
          <p:cNvSpPr txBox="1"/>
          <p:nvPr/>
        </p:nvSpPr>
        <p:spPr>
          <a:xfrm>
            <a:off x="1800657" y="4457435"/>
            <a:ext cx="104466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03935" algn="l"/>
              </a:tabLst>
              <a:defRPr/>
            </a:pPr>
            <a:r>
              <a:rPr kumimoji="0" lang="de-DE" sz="120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DB Sans"/>
              </a:rPr>
              <a:t>Frankfurt (M)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DB Sans"/>
            </a:endParaRPr>
          </a:p>
        </p:txBody>
      </p:sp>
      <p:cxnSp>
        <p:nvCxnSpPr>
          <p:cNvPr id="107" name="Gerader Verbinder 106">
            <a:extLst>
              <a:ext uri="{FF2B5EF4-FFF2-40B4-BE49-F238E27FC236}">
                <a16:creationId xmlns:a16="http://schemas.microsoft.com/office/drawing/2014/main" id="{0FD12CA0-D959-4A2B-9E74-88DAB0B9CC83}"/>
              </a:ext>
            </a:extLst>
          </p:cNvPr>
          <p:cNvCxnSpPr>
            <a:cxnSpLocks/>
          </p:cNvCxnSpPr>
          <p:nvPr/>
        </p:nvCxnSpPr>
        <p:spPr>
          <a:xfrm>
            <a:off x="481912" y="4050723"/>
            <a:ext cx="567250" cy="56892"/>
          </a:xfrm>
          <a:prstGeom prst="line">
            <a:avLst/>
          </a:prstGeom>
          <a:ln w="19050">
            <a:solidFill>
              <a:srgbClr val="00A0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object 29">
            <a:extLst>
              <a:ext uri="{FF2B5EF4-FFF2-40B4-BE49-F238E27FC236}">
                <a16:creationId xmlns:a16="http://schemas.microsoft.com/office/drawing/2014/main" id="{28DCA674-4528-4E23-BA6E-9948BDF43487}"/>
              </a:ext>
            </a:extLst>
          </p:cNvPr>
          <p:cNvSpPr txBox="1"/>
          <p:nvPr/>
        </p:nvSpPr>
        <p:spPr>
          <a:xfrm>
            <a:off x="134014" y="3743613"/>
            <a:ext cx="74330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A099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Brussels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A099"/>
              </a:solidFill>
              <a:effectLst/>
              <a:uLnTx/>
              <a:uFillTx/>
              <a:latin typeface="DB Head Black"/>
              <a:ea typeface="+mn-ea"/>
              <a:cs typeface="+mn-cs"/>
            </a:endParaRPr>
          </a:p>
        </p:txBody>
      </p:sp>
      <p:sp>
        <p:nvSpPr>
          <p:cNvPr id="68" name="object 232">
            <a:extLst>
              <a:ext uri="{FF2B5EF4-FFF2-40B4-BE49-F238E27FC236}">
                <a16:creationId xmlns:a16="http://schemas.microsoft.com/office/drawing/2014/main" id="{2B4B63F5-CBC0-4E1C-B119-2694561966D4}"/>
              </a:ext>
            </a:extLst>
          </p:cNvPr>
          <p:cNvSpPr txBox="1"/>
          <p:nvPr/>
        </p:nvSpPr>
        <p:spPr>
          <a:xfrm>
            <a:off x="1252569" y="4030437"/>
            <a:ext cx="791880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Head Black"/>
                <a:ea typeface="+mn-ea"/>
                <a:cs typeface="+mn-cs"/>
              </a:rPr>
              <a:t>Cologne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Head Black"/>
              <a:ea typeface="+mn-ea"/>
              <a:cs typeface="+mn-cs"/>
            </a:endParaRPr>
          </a:p>
        </p:txBody>
      </p:sp>
      <p:sp>
        <p:nvSpPr>
          <p:cNvPr id="62" name="50667_Point">
            <a:extLst>
              <a:ext uri="{FF2B5EF4-FFF2-40B4-BE49-F238E27FC236}">
                <a16:creationId xmlns:a16="http://schemas.microsoft.com/office/drawing/2014/main" id="{D2514B2C-BB2B-4A58-8779-E2B77EB25FB7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004101" y="4035250"/>
            <a:ext cx="165600" cy="165600"/>
          </a:xfrm>
          <a:prstGeom prst="ellipse">
            <a:avLst/>
          </a:prstGeom>
          <a:solidFill>
            <a:schemeClr val="bg1"/>
          </a:solidFill>
          <a:ln w="28575" cmpd="sng">
            <a:solidFill>
              <a:srgbClr val="00A0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err="1">
              <a:ln>
                <a:noFill/>
              </a:ln>
              <a:solidFill>
                <a:srgbClr val="EBEFE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83DB860B-5558-49B6-B9C2-B4D8E41ADE41}"/>
              </a:ext>
            </a:extLst>
          </p:cNvPr>
          <p:cNvCxnSpPr>
            <a:cxnSpLocks/>
          </p:cNvCxnSpPr>
          <p:nvPr/>
        </p:nvCxnSpPr>
        <p:spPr>
          <a:xfrm>
            <a:off x="434424" y="4091543"/>
            <a:ext cx="1282361" cy="1193579"/>
          </a:xfrm>
          <a:prstGeom prst="line">
            <a:avLst/>
          </a:prstGeom>
          <a:ln w="19050">
            <a:solidFill>
              <a:srgbClr val="00A0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bject 29">
            <a:extLst>
              <a:ext uri="{FF2B5EF4-FFF2-40B4-BE49-F238E27FC236}">
                <a16:creationId xmlns:a16="http://schemas.microsoft.com/office/drawing/2014/main" id="{C606D7EB-3CD5-4C82-9832-E8FCBD258E3F}"/>
              </a:ext>
            </a:extLst>
          </p:cNvPr>
          <p:cNvSpPr txBox="1"/>
          <p:nvPr/>
        </p:nvSpPr>
        <p:spPr>
          <a:xfrm>
            <a:off x="1555063" y="5253260"/>
            <a:ext cx="104466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03935" algn="l"/>
              </a:tabLst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B Sans"/>
                <a:ea typeface="+mn-ea"/>
                <a:cs typeface="DB Sans"/>
              </a:rPr>
              <a:t>Stuttgart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B Sans"/>
              <a:ea typeface="+mn-ea"/>
              <a:cs typeface="DB Sans"/>
            </a:endParaRPr>
          </a:p>
        </p:txBody>
      </p:sp>
      <p:sp>
        <p:nvSpPr>
          <p:cNvPr id="70" name="50667_Point">
            <a:extLst>
              <a:ext uri="{FF2B5EF4-FFF2-40B4-BE49-F238E27FC236}">
                <a16:creationId xmlns:a16="http://schemas.microsoft.com/office/drawing/2014/main" id="{B2BE3D7B-C625-424D-AB96-3C86931AFFE5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961226" y="3757132"/>
            <a:ext cx="165600" cy="165600"/>
          </a:xfrm>
          <a:prstGeom prst="ellipse">
            <a:avLst/>
          </a:prstGeom>
          <a:solidFill>
            <a:schemeClr val="bg1"/>
          </a:solidFill>
          <a:ln w="28575" cmpd="sng">
            <a:solidFill>
              <a:srgbClr val="00A0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err="1">
              <a:ln>
                <a:noFill/>
              </a:ln>
              <a:solidFill>
                <a:srgbClr val="EBEFE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1" name="50667_Point">
            <a:extLst>
              <a:ext uri="{FF2B5EF4-FFF2-40B4-BE49-F238E27FC236}">
                <a16:creationId xmlns:a16="http://schemas.microsoft.com/office/drawing/2014/main" id="{2E0EE445-C4EF-44AB-92AE-9FC30BC23C26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676842" y="5227709"/>
            <a:ext cx="165600" cy="165600"/>
          </a:xfrm>
          <a:prstGeom prst="ellipse">
            <a:avLst/>
          </a:prstGeom>
          <a:solidFill>
            <a:schemeClr val="bg1"/>
          </a:solidFill>
          <a:ln w="28575" cmpd="sng">
            <a:solidFill>
              <a:srgbClr val="00A0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err="1">
              <a:ln>
                <a:noFill/>
              </a:ln>
              <a:solidFill>
                <a:srgbClr val="EBEFE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3" name="50667_Point">
            <a:extLst>
              <a:ext uri="{FF2B5EF4-FFF2-40B4-BE49-F238E27FC236}">
                <a16:creationId xmlns:a16="http://schemas.microsoft.com/office/drawing/2014/main" id="{98B68782-8412-4DDB-B7E0-01B2A2FC6795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578946" y="4906276"/>
            <a:ext cx="165600" cy="165600"/>
          </a:xfrm>
          <a:prstGeom prst="ellipse">
            <a:avLst/>
          </a:prstGeom>
          <a:solidFill>
            <a:schemeClr val="bg1"/>
          </a:solidFill>
          <a:ln w="28575" cmpd="sng">
            <a:solidFill>
              <a:srgbClr val="00A0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err="1">
              <a:ln>
                <a:noFill/>
              </a:ln>
              <a:solidFill>
                <a:srgbClr val="EBEFE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4" name="50667_Point">
            <a:extLst>
              <a:ext uri="{FF2B5EF4-FFF2-40B4-BE49-F238E27FC236}">
                <a16:creationId xmlns:a16="http://schemas.microsoft.com/office/drawing/2014/main" id="{05523153-60B1-4030-B405-3FFA8717D98F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1599360" y="4461812"/>
            <a:ext cx="165600" cy="165600"/>
          </a:xfrm>
          <a:prstGeom prst="ellipse">
            <a:avLst/>
          </a:prstGeom>
          <a:solidFill>
            <a:schemeClr val="bg1"/>
          </a:solidFill>
          <a:ln w="28575" cmpd="sng">
            <a:solidFill>
              <a:srgbClr val="00A0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err="1">
              <a:ln>
                <a:noFill/>
              </a:ln>
              <a:solidFill>
                <a:srgbClr val="EBEFE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5" name="50667_Point">
            <a:extLst>
              <a:ext uri="{FF2B5EF4-FFF2-40B4-BE49-F238E27FC236}">
                <a16:creationId xmlns:a16="http://schemas.microsoft.com/office/drawing/2014/main" id="{807A0EFC-464F-4C25-8DDC-6148F56A3B39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12676" y="3979499"/>
            <a:ext cx="165600" cy="165600"/>
          </a:xfrm>
          <a:prstGeom prst="ellipse">
            <a:avLst/>
          </a:prstGeom>
          <a:solidFill>
            <a:schemeClr val="bg1"/>
          </a:solidFill>
          <a:ln w="28575" cmpd="sng">
            <a:solidFill>
              <a:srgbClr val="00A09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6" tIns="45698" rIns="91396" bIns="45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err="1">
              <a:ln>
                <a:noFill/>
              </a:ln>
              <a:solidFill>
                <a:srgbClr val="EBEFE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58" name="easyIcon">
            <a:extLst>
              <a:ext uri="{FF2B5EF4-FFF2-40B4-BE49-F238E27FC236}">
                <a16:creationId xmlns:a16="http://schemas.microsoft.com/office/drawing/2014/main" id="{EC4011F1-94F5-4AAD-A27C-5CD2667F6EBF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8003321" y="1351524"/>
            <a:ext cx="516828" cy="516828"/>
            <a:chOff x="648929" y="2029343"/>
            <a:chExt cx="714049" cy="714049"/>
          </a:xfrm>
        </p:grpSpPr>
        <p:sp>
          <p:nvSpPr>
            <p:cNvPr id="60" name="Background">
              <a:extLst>
                <a:ext uri="{FF2B5EF4-FFF2-40B4-BE49-F238E27FC236}">
                  <a16:creationId xmlns:a16="http://schemas.microsoft.com/office/drawing/2014/main" id="{221294D7-0AAF-42EF-9DCF-99E9DD1B5D1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8929" y="2029343"/>
              <a:ext cx="714049" cy="71404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00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Vector">
              <a:extLst>
                <a:ext uri="{FF2B5EF4-FFF2-40B4-BE49-F238E27FC236}">
                  <a16:creationId xmlns:a16="http://schemas.microsoft.com/office/drawing/2014/main" id="{54C38469-BF5B-4533-A19D-AD7D2435165B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gray">
            <a:xfrm>
              <a:off x="717954" y="2180765"/>
              <a:ext cx="576001" cy="411217"/>
            </a:xfrm>
            <a:custGeom>
              <a:avLst/>
              <a:gdLst>
                <a:gd name="connsiteX0" fmla="*/ 395669 w 405193"/>
                <a:gd name="connsiteY0" fmla="*/ 57817 h 289274"/>
                <a:gd name="connsiteX1" fmla="*/ 351758 w 405193"/>
                <a:gd name="connsiteY1" fmla="*/ 57817 h 289274"/>
                <a:gd name="connsiteX2" fmla="*/ 349758 w 405193"/>
                <a:gd name="connsiteY2" fmla="*/ 58007 h 289274"/>
                <a:gd name="connsiteX3" fmla="*/ 294608 w 405193"/>
                <a:gd name="connsiteY3" fmla="*/ 1143 h 289274"/>
                <a:gd name="connsiteX4" fmla="*/ 289941 w 405193"/>
                <a:gd name="connsiteY4" fmla="*/ 0 h 289274"/>
                <a:gd name="connsiteX5" fmla="*/ 114110 w 405193"/>
                <a:gd name="connsiteY5" fmla="*/ 0 h 289274"/>
                <a:gd name="connsiteX6" fmla="*/ 109156 w 405193"/>
                <a:gd name="connsiteY6" fmla="*/ 1334 h 289274"/>
                <a:gd name="connsiteX7" fmla="*/ 54197 w 405193"/>
                <a:gd name="connsiteY7" fmla="*/ 57912 h 289274"/>
                <a:gd name="connsiteX8" fmla="*/ 53340 w 405193"/>
                <a:gd name="connsiteY8" fmla="*/ 57817 h 289274"/>
                <a:gd name="connsiteX9" fmla="*/ 9525 w 405193"/>
                <a:gd name="connsiteY9" fmla="*/ 57817 h 289274"/>
                <a:gd name="connsiteX10" fmla="*/ 0 w 405193"/>
                <a:gd name="connsiteY10" fmla="*/ 67342 h 289274"/>
                <a:gd name="connsiteX11" fmla="*/ 0 w 405193"/>
                <a:gd name="connsiteY11" fmla="*/ 90773 h 289274"/>
                <a:gd name="connsiteX12" fmla="*/ 9525 w 405193"/>
                <a:gd name="connsiteY12" fmla="*/ 100298 h 289274"/>
                <a:gd name="connsiteX13" fmla="*/ 31433 w 405193"/>
                <a:gd name="connsiteY13" fmla="*/ 100298 h 289274"/>
                <a:gd name="connsiteX14" fmla="*/ 18193 w 405193"/>
                <a:gd name="connsiteY14" fmla="*/ 129445 h 289274"/>
                <a:gd name="connsiteX15" fmla="*/ 17907 w 405193"/>
                <a:gd name="connsiteY15" fmla="*/ 130112 h 289274"/>
                <a:gd name="connsiteX16" fmla="*/ 17431 w 405193"/>
                <a:gd name="connsiteY16" fmla="*/ 131350 h 289274"/>
                <a:gd name="connsiteX17" fmla="*/ 17431 w 405193"/>
                <a:gd name="connsiteY17" fmla="*/ 131445 h 289274"/>
                <a:gd name="connsiteX18" fmla="*/ 7715 w 405193"/>
                <a:gd name="connsiteY18" fmla="*/ 161735 h 289274"/>
                <a:gd name="connsiteX19" fmla="*/ 7429 w 405193"/>
                <a:gd name="connsiteY19" fmla="*/ 164021 h 289274"/>
                <a:gd name="connsiteX20" fmla="*/ 7429 w 405193"/>
                <a:gd name="connsiteY20" fmla="*/ 231172 h 289274"/>
                <a:gd name="connsiteX21" fmla="*/ 16955 w 405193"/>
                <a:gd name="connsiteY21" fmla="*/ 240697 h 289274"/>
                <a:gd name="connsiteX22" fmla="*/ 18574 w 405193"/>
                <a:gd name="connsiteY22" fmla="*/ 240697 h 289274"/>
                <a:gd name="connsiteX23" fmla="*/ 17050 w 405193"/>
                <a:gd name="connsiteY23" fmla="*/ 249841 h 289274"/>
                <a:gd name="connsiteX24" fmla="*/ 17050 w 405193"/>
                <a:gd name="connsiteY24" fmla="*/ 261080 h 289274"/>
                <a:gd name="connsiteX25" fmla="*/ 45244 w 405193"/>
                <a:gd name="connsiteY25" fmla="*/ 289274 h 289274"/>
                <a:gd name="connsiteX26" fmla="*/ 92774 w 405193"/>
                <a:gd name="connsiteY26" fmla="*/ 289274 h 289274"/>
                <a:gd name="connsiteX27" fmla="*/ 120968 w 405193"/>
                <a:gd name="connsiteY27" fmla="*/ 261080 h 289274"/>
                <a:gd name="connsiteX28" fmla="*/ 120968 w 405193"/>
                <a:gd name="connsiteY28" fmla="*/ 249841 h 289274"/>
                <a:gd name="connsiteX29" fmla="*/ 119348 w 405193"/>
                <a:gd name="connsiteY29" fmla="*/ 240506 h 289274"/>
                <a:gd name="connsiteX30" fmla="*/ 284036 w 405193"/>
                <a:gd name="connsiteY30" fmla="*/ 240411 h 289274"/>
                <a:gd name="connsiteX31" fmla="*/ 282416 w 405193"/>
                <a:gd name="connsiteY31" fmla="*/ 249841 h 289274"/>
                <a:gd name="connsiteX32" fmla="*/ 282416 w 405193"/>
                <a:gd name="connsiteY32" fmla="*/ 261080 h 289274"/>
                <a:gd name="connsiteX33" fmla="*/ 310610 w 405193"/>
                <a:gd name="connsiteY33" fmla="*/ 289274 h 289274"/>
                <a:gd name="connsiteX34" fmla="*/ 358140 w 405193"/>
                <a:gd name="connsiteY34" fmla="*/ 289274 h 289274"/>
                <a:gd name="connsiteX35" fmla="*/ 386334 w 405193"/>
                <a:gd name="connsiteY35" fmla="*/ 261080 h 289274"/>
                <a:gd name="connsiteX36" fmla="*/ 386334 w 405193"/>
                <a:gd name="connsiteY36" fmla="*/ 249841 h 289274"/>
                <a:gd name="connsiteX37" fmla="*/ 384810 w 405193"/>
                <a:gd name="connsiteY37" fmla="*/ 240697 h 289274"/>
                <a:gd name="connsiteX38" fmla="*/ 387668 w 405193"/>
                <a:gd name="connsiteY38" fmla="*/ 240697 h 289274"/>
                <a:gd name="connsiteX39" fmla="*/ 397193 w 405193"/>
                <a:gd name="connsiteY39" fmla="*/ 231172 h 289274"/>
                <a:gd name="connsiteX40" fmla="*/ 397193 w 405193"/>
                <a:gd name="connsiteY40" fmla="*/ 164021 h 289274"/>
                <a:gd name="connsiteX41" fmla="*/ 397097 w 405193"/>
                <a:gd name="connsiteY41" fmla="*/ 162592 h 289274"/>
                <a:gd name="connsiteX42" fmla="*/ 389001 w 405193"/>
                <a:gd name="connsiteY42" fmla="*/ 132017 h 289274"/>
                <a:gd name="connsiteX43" fmla="*/ 373856 w 405193"/>
                <a:gd name="connsiteY43" fmla="*/ 100298 h 289274"/>
                <a:gd name="connsiteX44" fmla="*/ 395669 w 405193"/>
                <a:gd name="connsiteY44" fmla="*/ 100298 h 289274"/>
                <a:gd name="connsiteX45" fmla="*/ 405194 w 405193"/>
                <a:gd name="connsiteY45" fmla="*/ 90773 h 289274"/>
                <a:gd name="connsiteX46" fmla="*/ 405194 w 405193"/>
                <a:gd name="connsiteY46" fmla="*/ 67342 h 289274"/>
                <a:gd name="connsiteX47" fmla="*/ 395669 w 405193"/>
                <a:gd name="connsiteY47" fmla="*/ 57817 h 289274"/>
                <a:gd name="connsiteX48" fmla="*/ 62865 w 405193"/>
                <a:gd name="connsiteY48" fmla="*/ 81534 h 289274"/>
                <a:gd name="connsiteX49" fmla="*/ 116872 w 405193"/>
                <a:gd name="connsiteY49" fmla="*/ 19050 h 289274"/>
                <a:gd name="connsiteX50" fmla="*/ 287369 w 405193"/>
                <a:gd name="connsiteY50" fmla="*/ 19050 h 289274"/>
                <a:gd name="connsiteX51" fmla="*/ 341662 w 405193"/>
                <a:gd name="connsiteY51" fmla="*/ 82391 h 289274"/>
                <a:gd name="connsiteX52" fmla="*/ 342233 w 405193"/>
                <a:gd name="connsiteY52" fmla="*/ 82391 h 289274"/>
                <a:gd name="connsiteX53" fmla="*/ 342233 w 405193"/>
                <a:gd name="connsiteY53" fmla="*/ 83439 h 289274"/>
                <a:gd name="connsiteX54" fmla="*/ 341662 w 405193"/>
                <a:gd name="connsiteY54" fmla="*/ 82391 h 289274"/>
                <a:gd name="connsiteX55" fmla="*/ 62389 w 405193"/>
                <a:gd name="connsiteY55" fmla="*/ 82391 h 289274"/>
                <a:gd name="connsiteX56" fmla="*/ 62865 w 405193"/>
                <a:gd name="connsiteY56" fmla="*/ 81534 h 289274"/>
                <a:gd name="connsiteX57" fmla="*/ 351473 w 405193"/>
                <a:gd name="connsiteY57" fmla="*/ 101441 h 289274"/>
                <a:gd name="connsiteX58" fmla="*/ 368713 w 405193"/>
                <a:gd name="connsiteY58" fmla="*/ 132207 h 289274"/>
                <a:gd name="connsiteX59" fmla="*/ 328422 w 405193"/>
                <a:gd name="connsiteY59" fmla="*/ 157734 h 289274"/>
                <a:gd name="connsiteX60" fmla="*/ 77248 w 405193"/>
                <a:gd name="connsiteY60" fmla="*/ 157734 h 289274"/>
                <a:gd name="connsiteX61" fmla="*/ 38005 w 405193"/>
                <a:gd name="connsiteY61" fmla="*/ 130969 h 289274"/>
                <a:gd name="connsiteX62" fmla="*/ 53150 w 405193"/>
                <a:gd name="connsiteY62" fmla="*/ 101441 h 289274"/>
                <a:gd name="connsiteX63" fmla="*/ 351473 w 405193"/>
                <a:gd name="connsiteY63" fmla="*/ 101441 h 289274"/>
                <a:gd name="connsiteX64" fmla="*/ 284321 w 405193"/>
                <a:gd name="connsiteY64" fmla="*/ 176784 h 289274"/>
                <a:gd name="connsiteX65" fmla="*/ 118396 w 405193"/>
                <a:gd name="connsiteY65" fmla="*/ 176784 h 289274"/>
                <a:gd name="connsiteX66" fmla="*/ 284321 w 405193"/>
                <a:gd name="connsiteY66" fmla="*/ 176784 h 289274"/>
                <a:gd name="connsiteX67" fmla="*/ 19050 w 405193"/>
                <a:gd name="connsiteY67" fmla="*/ 81248 h 289274"/>
                <a:gd name="connsiteX68" fmla="*/ 19050 w 405193"/>
                <a:gd name="connsiteY68" fmla="*/ 76867 h 289274"/>
                <a:gd name="connsiteX69" fmla="*/ 43815 w 405193"/>
                <a:gd name="connsiteY69" fmla="*/ 76867 h 289274"/>
                <a:gd name="connsiteX70" fmla="*/ 43815 w 405193"/>
                <a:gd name="connsiteY70" fmla="*/ 81248 h 289274"/>
                <a:gd name="connsiteX71" fmla="*/ 19050 w 405193"/>
                <a:gd name="connsiteY71" fmla="*/ 81248 h 289274"/>
                <a:gd name="connsiteX72" fmla="*/ 31147 w 405193"/>
                <a:gd name="connsiteY72" fmla="*/ 149828 h 289274"/>
                <a:gd name="connsiteX73" fmla="*/ 66389 w 405193"/>
                <a:gd name="connsiteY73" fmla="*/ 173355 h 289274"/>
                <a:gd name="connsiteX74" fmla="*/ 67532 w 405193"/>
                <a:gd name="connsiteY74" fmla="*/ 178022 h 289274"/>
                <a:gd name="connsiteX75" fmla="*/ 28575 w 405193"/>
                <a:gd name="connsiteY75" fmla="*/ 159163 h 289274"/>
                <a:gd name="connsiteX76" fmla="*/ 28289 w 405193"/>
                <a:gd name="connsiteY76" fmla="*/ 159068 h 289274"/>
                <a:gd name="connsiteX77" fmla="*/ 31147 w 405193"/>
                <a:gd name="connsiteY77" fmla="*/ 149828 h 289274"/>
                <a:gd name="connsiteX78" fmla="*/ 101918 w 405193"/>
                <a:gd name="connsiteY78" fmla="*/ 261080 h 289274"/>
                <a:gd name="connsiteX79" fmla="*/ 92774 w 405193"/>
                <a:gd name="connsiteY79" fmla="*/ 270224 h 289274"/>
                <a:gd name="connsiteX80" fmla="*/ 45244 w 405193"/>
                <a:gd name="connsiteY80" fmla="*/ 270224 h 289274"/>
                <a:gd name="connsiteX81" fmla="*/ 36100 w 405193"/>
                <a:gd name="connsiteY81" fmla="*/ 261080 h 289274"/>
                <a:gd name="connsiteX82" fmla="*/ 36100 w 405193"/>
                <a:gd name="connsiteY82" fmla="*/ 249841 h 289274"/>
                <a:gd name="connsiteX83" fmla="*/ 45244 w 405193"/>
                <a:gd name="connsiteY83" fmla="*/ 240697 h 289274"/>
                <a:gd name="connsiteX84" fmla="*/ 92774 w 405193"/>
                <a:gd name="connsiteY84" fmla="*/ 240697 h 289274"/>
                <a:gd name="connsiteX85" fmla="*/ 101918 w 405193"/>
                <a:gd name="connsiteY85" fmla="*/ 249841 h 289274"/>
                <a:gd name="connsiteX86" fmla="*/ 101918 w 405193"/>
                <a:gd name="connsiteY86" fmla="*/ 261080 h 289274"/>
                <a:gd name="connsiteX87" fmla="*/ 367284 w 405193"/>
                <a:gd name="connsiteY87" fmla="*/ 261080 h 289274"/>
                <a:gd name="connsiteX88" fmla="*/ 358140 w 405193"/>
                <a:gd name="connsiteY88" fmla="*/ 270224 h 289274"/>
                <a:gd name="connsiteX89" fmla="*/ 310610 w 405193"/>
                <a:gd name="connsiteY89" fmla="*/ 270224 h 289274"/>
                <a:gd name="connsiteX90" fmla="*/ 301466 w 405193"/>
                <a:gd name="connsiteY90" fmla="*/ 261080 h 289274"/>
                <a:gd name="connsiteX91" fmla="*/ 301466 w 405193"/>
                <a:gd name="connsiteY91" fmla="*/ 249841 h 289274"/>
                <a:gd name="connsiteX92" fmla="*/ 310610 w 405193"/>
                <a:gd name="connsiteY92" fmla="*/ 240697 h 289274"/>
                <a:gd name="connsiteX93" fmla="*/ 358140 w 405193"/>
                <a:gd name="connsiteY93" fmla="*/ 240697 h 289274"/>
                <a:gd name="connsiteX94" fmla="*/ 367284 w 405193"/>
                <a:gd name="connsiteY94" fmla="*/ 249841 h 289274"/>
                <a:gd name="connsiteX95" fmla="*/ 367284 w 405193"/>
                <a:gd name="connsiteY95" fmla="*/ 261080 h 289274"/>
                <a:gd name="connsiteX96" fmla="*/ 378143 w 405193"/>
                <a:gd name="connsiteY96" fmla="*/ 221647 h 289274"/>
                <a:gd name="connsiteX97" fmla="*/ 289465 w 405193"/>
                <a:gd name="connsiteY97" fmla="*/ 221647 h 289274"/>
                <a:gd name="connsiteX98" fmla="*/ 192405 w 405193"/>
                <a:gd name="connsiteY98" fmla="*/ 218980 h 289274"/>
                <a:gd name="connsiteX99" fmla="*/ 116300 w 405193"/>
                <a:gd name="connsiteY99" fmla="*/ 221647 h 289274"/>
                <a:gd name="connsiteX100" fmla="*/ 26480 w 405193"/>
                <a:gd name="connsiteY100" fmla="*/ 221647 h 289274"/>
                <a:gd name="connsiteX101" fmla="*/ 26480 w 405193"/>
                <a:gd name="connsiteY101" fmla="*/ 180213 h 289274"/>
                <a:gd name="connsiteX102" fmla="*/ 69152 w 405193"/>
                <a:gd name="connsiteY102" fmla="*/ 197168 h 289274"/>
                <a:gd name="connsiteX103" fmla="*/ 73247 w 405193"/>
                <a:gd name="connsiteY103" fmla="*/ 196691 h 289274"/>
                <a:gd name="connsiteX104" fmla="*/ 84773 w 405193"/>
                <a:gd name="connsiteY104" fmla="*/ 187643 h 289274"/>
                <a:gd name="connsiteX105" fmla="*/ 86106 w 405193"/>
                <a:gd name="connsiteY105" fmla="*/ 183642 h 289274"/>
                <a:gd name="connsiteX106" fmla="*/ 198501 w 405193"/>
                <a:gd name="connsiteY106" fmla="*/ 209455 h 289274"/>
                <a:gd name="connsiteX107" fmla="*/ 320516 w 405193"/>
                <a:gd name="connsiteY107" fmla="*/ 181928 h 289274"/>
                <a:gd name="connsiteX108" fmla="*/ 322231 w 405193"/>
                <a:gd name="connsiteY108" fmla="*/ 187643 h 289274"/>
                <a:gd name="connsiteX109" fmla="*/ 333756 w 405193"/>
                <a:gd name="connsiteY109" fmla="*/ 196691 h 289274"/>
                <a:gd name="connsiteX110" fmla="*/ 337852 w 405193"/>
                <a:gd name="connsiteY110" fmla="*/ 197072 h 289274"/>
                <a:gd name="connsiteX111" fmla="*/ 378143 w 405193"/>
                <a:gd name="connsiteY111" fmla="*/ 181642 h 289274"/>
                <a:gd name="connsiteX112" fmla="*/ 378143 w 405193"/>
                <a:gd name="connsiteY112" fmla="*/ 221647 h 289274"/>
                <a:gd name="connsiteX113" fmla="*/ 374999 w 405193"/>
                <a:gd name="connsiteY113" fmla="*/ 151067 h 289274"/>
                <a:gd name="connsiteX114" fmla="*/ 377190 w 405193"/>
                <a:gd name="connsiteY114" fmla="*/ 159925 h 289274"/>
                <a:gd name="connsiteX115" fmla="*/ 339471 w 405193"/>
                <a:gd name="connsiteY115" fmla="*/ 178118 h 289274"/>
                <a:gd name="connsiteX116" fmla="*/ 341186 w 405193"/>
                <a:gd name="connsiteY116" fmla="*/ 171736 h 289274"/>
                <a:gd name="connsiteX117" fmla="*/ 374999 w 405193"/>
                <a:gd name="connsiteY117" fmla="*/ 151067 h 289274"/>
                <a:gd name="connsiteX118" fmla="*/ 386144 w 405193"/>
                <a:gd name="connsiteY118" fmla="*/ 81248 h 289274"/>
                <a:gd name="connsiteX119" fmla="*/ 361283 w 405193"/>
                <a:gd name="connsiteY119" fmla="*/ 81248 h 289274"/>
                <a:gd name="connsiteX120" fmla="*/ 361283 w 405193"/>
                <a:gd name="connsiteY120" fmla="*/ 76867 h 289274"/>
                <a:gd name="connsiteX121" fmla="*/ 386144 w 405193"/>
                <a:gd name="connsiteY121" fmla="*/ 76867 h 289274"/>
                <a:gd name="connsiteX122" fmla="*/ 386144 w 405193"/>
                <a:gd name="connsiteY122" fmla="*/ 81248 h 289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405193" h="289274">
                  <a:moveTo>
                    <a:pt x="395669" y="57817"/>
                  </a:moveTo>
                  <a:lnTo>
                    <a:pt x="351758" y="57817"/>
                  </a:lnTo>
                  <a:cubicBezTo>
                    <a:pt x="351092" y="57817"/>
                    <a:pt x="350425" y="57912"/>
                    <a:pt x="349758" y="58007"/>
                  </a:cubicBezTo>
                  <a:cubicBezTo>
                    <a:pt x="336328" y="37243"/>
                    <a:pt x="316706" y="13526"/>
                    <a:pt x="294608" y="1143"/>
                  </a:cubicBezTo>
                  <a:cubicBezTo>
                    <a:pt x="293179" y="381"/>
                    <a:pt x="291560" y="0"/>
                    <a:pt x="289941" y="0"/>
                  </a:cubicBezTo>
                  <a:lnTo>
                    <a:pt x="114110" y="0"/>
                  </a:lnTo>
                  <a:cubicBezTo>
                    <a:pt x="112395" y="0"/>
                    <a:pt x="110681" y="476"/>
                    <a:pt x="109156" y="1334"/>
                  </a:cubicBezTo>
                  <a:cubicBezTo>
                    <a:pt x="87154" y="14764"/>
                    <a:pt x="68675" y="33719"/>
                    <a:pt x="54197" y="57912"/>
                  </a:cubicBezTo>
                  <a:cubicBezTo>
                    <a:pt x="53912" y="57817"/>
                    <a:pt x="53626" y="57817"/>
                    <a:pt x="53340" y="57817"/>
                  </a:cubicBezTo>
                  <a:lnTo>
                    <a:pt x="9525" y="57817"/>
                  </a:lnTo>
                  <a:cubicBezTo>
                    <a:pt x="4286" y="57817"/>
                    <a:pt x="0" y="62103"/>
                    <a:pt x="0" y="67342"/>
                  </a:cubicBezTo>
                  <a:lnTo>
                    <a:pt x="0" y="90773"/>
                  </a:lnTo>
                  <a:cubicBezTo>
                    <a:pt x="0" y="96107"/>
                    <a:pt x="4286" y="100298"/>
                    <a:pt x="9525" y="100298"/>
                  </a:cubicBezTo>
                  <a:lnTo>
                    <a:pt x="31433" y="100298"/>
                  </a:lnTo>
                  <a:cubicBezTo>
                    <a:pt x="26194" y="109823"/>
                    <a:pt x="21717" y="120015"/>
                    <a:pt x="18193" y="129445"/>
                  </a:cubicBezTo>
                  <a:cubicBezTo>
                    <a:pt x="18098" y="129635"/>
                    <a:pt x="18002" y="129921"/>
                    <a:pt x="17907" y="130112"/>
                  </a:cubicBezTo>
                  <a:cubicBezTo>
                    <a:pt x="17716" y="130493"/>
                    <a:pt x="17526" y="130969"/>
                    <a:pt x="17431" y="131350"/>
                  </a:cubicBezTo>
                  <a:lnTo>
                    <a:pt x="17431" y="131445"/>
                  </a:lnTo>
                  <a:cubicBezTo>
                    <a:pt x="11240" y="147733"/>
                    <a:pt x="8001" y="160687"/>
                    <a:pt x="7715" y="161735"/>
                  </a:cubicBezTo>
                  <a:cubicBezTo>
                    <a:pt x="7525" y="162497"/>
                    <a:pt x="7429" y="163259"/>
                    <a:pt x="7429" y="164021"/>
                  </a:cubicBezTo>
                  <a:lnTo>
                    <a:pt x="7429" y="231172"/>
                  </a:lnTo>
                  <a:cubicBezTo>
                    <a:pt x="7429" y="236411"/>
                    <a:pt x="11716" y="240697"/>
                    <a:pt x="16955" y="240697"/>
                  </a:cubicBezTo>
                  <a:lnTo>
                    <a:pt x="18574" y="240697"/>
                  </a:lnTo>
                  <a:cubicBezTo>
                    <a:pt x="17621" y="243554"/>
                    <a:pt x="17050" y="246602"/>
                    <a:pt x="17050" y="249841"/>
                  </a:cubicBezTo>
                  <a:lnTo>
                    <a:pt x="17050" y="261080"/>
                  </a:lnTo>
                  <a:cubicBezTo>
                    <a:pt x="17050" y="276606"/>
                    <a:pt x="29718" y="289274"/>
                    <a:pt x="45244" y="289274"/>
                  </a:cubicBezTo>
                  <a:lnTo>
                    <a:pt x="92774" y="289274"/>
                  </a:lnTo>
                  <a:cubicBezTo>
                    <a:pt x="108299" y="289274"/>
                    <a:pt x="120968" y="276606"/>
                    <a:pt x="120968" y="261080"/>
                  </a:cubicBezTo>
                  <a:lnTo>
                    <a:pt x="120968" y="249841"/>
                  </a:lnTo>
                  <a:cubicBezTo>
                    <a:pt x="120968" y="246602"/>
                    <a:pt x="120396" y="243459"/>
                    <a:pt x="119348" y="240506"/>
                  </a:cubicBezTo>
                  <a:cubicBezTo>
                    <a:pt x="180022" y="235648"/>
                    <a:pt x="263176" y="239363"/>
                    <a:pt x="284036" y="240411"/>
                  </a:cubicBezTo>
                  <a:cubicBezTo>
                    <a:pt x="282988" y="243364"/>
                    <a:pt x="282416" y="246507"/>
                    <a:pt x="282416" y="249841"/>
                  </a:cubicBezTo>
                  <a:lnTo>
                    <a:pt x="282416" y="261080"/>
                  </a:lnTo>
                  <a:cubicBezTo>
                    <a:pt x="282416" y="276606"/>
                    <a:pt x="295085" y="289274"/>
                    <a:pt x="310610" y="289274"/>
                  </a:cubicBezTo>
                  <a:lnTo>
                    <a:pt x="358140" y="289274"/>
                  </a:lnTo>
                  <a:cubicBezTo>
                    <a:pt x="373666" y="289274"/>
                    <a:pt x="386334" y="276606"/>
                    <a:pt x="386334" y="261080"/>
                  </a:cubicBezTo>
                  <a:lnTo>
                    <a:pt x="386334" y="249841"/>
                  </a:lnTo>
                  <a:cubicBezTo>
                    <a:pt x="386334" y="246602"/>
                    <a:pt x="385763" y="243554"/>
                    <a:pt x="384810" y="240697"/>
                  </a:cubicBezTo>
                  <a:lnTo>
                    <a:pt x="387668" y="240697"/>
                  </a:lnTo>
                  <a:cubicBezTo>
                    <a:pt x="393002" y="240697"/>
                    <a:pt x="397193" y="236411"/>
                    <a:pt x="397193" y="231172"/>
                  </a:cubicBezTo>
                  <a:lnTo>
                    <a:pt x="397193" y="164021"/>
                  </a:lnTo>
                  <a:cubicBezTo>
                    <a:pt x="397193" y="163544"/>
                    <a:pt x="397193" y="163068"/>
                    <a:pt x="397097" y="162592"/>
                  </a:cubicBezTo>
                  <a:cubicBezTo>
                    <a:pt x="397002" y="161639"/>
                    <a:pt x="395002" y="148590"/>
                    <a:pt x="389001" y="132017"/>
                  </a:cubicBezTo>
                  <a:cubicBezTo>
                    <a:pt x="385477" y="122111"/>
                    <a:pt x="380619" y="110871"/>
                    <a:pt x="373856" y="100298"/>
                  </a:cubicBezTo>
                  <a:lnTo>
                    <a:pt x="395669" y="100298"/>
                  </a:lnTo>
                  <a:cubicBezTo>
                    <a:pt x="400907" y="100298"/>
                    <a:pt x="405194" y="96107"/>
                    <a:pt x="405194" y="90773"/>
                  </a:cubicBezTo>
                  <a:lnTo>
                    <a:pt x="405194" y="67342"/>
                  </a:lnTo>
                  <a:cubicBezTo>
                    <a:pt x="405194" y="62103"/>
                    <a:pt x="400907" y="57817"/>
                    <a:pt x="395669" y="57817"/>
                  </a:cubicBezTo>
                  <a:close/>
                  <a:moveTo>
                    <a:pt x="62865" y="81534"/>
                  </a:moveTo>
                  <a:cubicBezTo>
                    <a:pt x="76486" y="54102"/>
                    <a:pt x="94583" y="33147"/>
                    <a:pt x="116872" y="19050"/>
                  </a:cubicBezTo>
                  <a:lnTo>
                    <a:pt x="287369" y="19050"/>
                  </a:lnTo>
                  <a:cubicBezTo>
                    <a:pt x="311468" y="33528"/>
                    <a:pt x="330994" y="62960"/>
                    <a:pt x="341662" y="82391"/>
                  </a:cubicBezTo>
                  <a:lnTo>
                    <a:pt x="342233" y="82391"/>
                  </a:lnTo>
                  <a:lnTo>
                    <a:pt x="342233" y="83439"/>
                  </a:lnTo>
                  <a:cubicBezTo>
                    <a:pt x="342043" y="83153"/>
                    <a:pt x="341852" y="82772"/>
                    <a:pt x="341662" y="82391"/>
                  </a:cubicBezTo>
                  <a:lnTo>
                    <a:pt x="62389" y="82391"/>
                  </a:lnTo>
                  <a:cubicBezTo>
                    <a:pt x="62579" y="82106"/>
                    <a:pt x="62675" y="81820"/>
                    <a:pt x="62865" y="81534"/>
                  </a:cubicBezTo>
                  <a:close/>
                  <a:moveTo>
                    <a:pt x="351473" y="101441"/>
                  </a:moveTo>
                  <a:cubicBezTo>
                    <a:pt x="359093" y="111062"/>
                    <a:pt x="364712" y="122015"/>
                    <a:pt x="368713" y="132207"/>
                  </a:cubicBezTo>
                  <a:cubicBezTo>
                    <a:pt x="361569" y="137636"/>
                    <a:pt x="347663" y="147542"/>
                    <a:pt x="328422" y="157734"/>
                  </a:cubicBezTo>
                  <a:lnTo>
                    <a:pt x="77248" y="157734"/>
                  </a:lnTo>
                  <a:cubicBezTo>
                    <a:pt x="64294" y="150305"/>
                    <a:pt x="51149" y="141446"/>
                    <a:pt x="38005" y="130969"/>
                  </a:cubicBezTo>
                  <a:cubicBezTo>
                    <a:pt x="42101" y="120872"/>
                    <a:pt x="47244" y="110299"/>
                    <a:pt x="53150" y="101441"/>
                  </a:cubicBezTo>
                  <a:lnTo>
                    <a:pt x="351473" y="101441"/>
                  </a:lnTo>
                  <a:close/>
                  <a:moveTo>
                    <a:pt x="284321" y="176784"/>
                  </a:moveTo>
                  <a:cubicBezTo>
                    <a:pt x="239554" y="192119"/>
                    <a:pt x="181547" y="199644"/>
                    <a:pt x="118396" y="176784"/>
                  </a:cubicBezTo>
                  <a:lnTo>
                    <a:pt x="284321" y="176784"/>
                  </a:lnTo>
                  <a:close/>
                  <a:moveTo>
                    <a:pt x="19050" y="81248"/>
                  </a:moveTo>
                  <a:lnTo>
                    <a:pt x="19050" y="76867"/>
                  </a:lnTo>
                  <a:lnTo>
                    <a:pt x="43815" y="76867"/>
                  </a:lnTo>
                  <a:lnTo>
                    <a:pt x="43815" y="81248"/>
                  </a:lnTo>
                  <a:lnTo>
                    <a:pt x="19050" y="81248"/>
                  </a:lnTo>
                  <a:close/>
                  <a:moveTo>
                    <a:pt x="31147" y="149828"/>
                  </a:moveTo>
                  <a:cubicBezTo>
                    <a:pt x="42958" y="158877"/>
                    <a:pt x="54673" y="166687"/>
                    <a:pt x="66389" y="173355"/>
                  </a:cubicBezTo>
                  <a:cubicBezTo>
                    <a:pt x="67056" y="174974"/>
                    <a:pt x="67437" y="176784"/>
                    <a:pt x="67532" y="178022"/>
                  </a:cubicBezTo>
                  <a:cubicBezTo>
                    <a:pt x="61151" y="177165"/>
                    <a:pt x="43910" y="168878"/>
                    <a:pt x="28575" y="159163"/>
                  </a:cubicBezTo>
                  <a:cubicBezTo>
                    <a:pt x="28480" y="159068"/>
                    <a:pt x="28385" y="159068"/>
                    <a:pt x="28289" y="159068"/>
                  </a:cubicBezTo>
                  <a:cubicBezTo>
                    <a:pt x="28956" y="156496"/>
                    <a:pt x="29908" y="153353"/>
                    <a:pt x="31147" y="149828"/>
                  </a:cubicBezTo>
                  <a:close/>
                  <a:moveTo>
                    <a:pt x="101918" y="261080"/>
                  </a:moveTo>
                  <a:cubicBezTo>
                    <a:pt x="101918" y="266129"/>
                    <a:pt x="97822" y="270224"/>
                    <a:pt x="92774" y="270224"/>
                  </a:cubicBezTo>
                  <a:lnTo>
                    <a:pt x="45244" y="270224"/>
                  </a:lnTo>
                  <a:cubicBezTo>
                    <a:pt x="40195" y="270224"/>
                    <a:pt x="36100" y="266129"/>
                    <a:pt x="36100" y="261080"/>
                  </a:cubicBezTo>
                  <a:lnTo>
                    <a:pt x="36100" y="249841"/>
                  </a:lnTo>
                  <a:cubicBezTo>
                    <a:pt x="36100" y="244793"/>
                    <a:pt x="40195" y="240697"/>
                    <a:pt x="45244" y="240697"/>
                  </a:cubicBezTo>
                  <a:lnTo>
                    <a:pt x="92774" y="240697"/>
                  </a:lnTo>
                  <a:cubicBezTo>
                    <a:pt x="97822" y="240697"/>
                    <a:pt x="101918" y="244793"/>
                    <a:pt x="101918" y="249841"/>
                  </a:cubicBezTo>
                  <a:lnTo>
                    <a:pt x="101918" y="261080"/>
                  </a:lnTo>
                  <a:close/>
                  <a:moveTo>
                    <a:pt x="367284" y="261080"/>
                  </a:moveTo>
                  <a:cubicBezTo>
                    <a:pt x="367284" y="266129"/>
                    <a:pt x="363188" y="270224"/>
                    <a:pt x="358140" y="270224"/>
                  </a:cubicBezTo>
                  <a:lnTo>
                    <a:pt x="310610" y="270224"/>
                  </a:lnTo>
                  <a:cubicBezTo>
                    <a:pt x="305562" y="270224"/>
                    <a:pt x="301466" y="266129"/>
                    <a:pt x="301466" y="261080"/>
                  </a:cubicBezTo>
                  <a:lnTo>
                    <a:pt x="301466" y="249841"/>
                  </a:lnTo>
                  <a:cubicBezTo>
                    <a:pt x="301466" y="244793"/>
                    <a:pt x="305562" y="240697"/>
                    <a:pt x="310610" y="240697"/>
                  </a:cubicBezTo>
                  <a:lnTo>
                    <a:pt x="358140" y="240697"/>
                  </a:lnTo>
                  <a:cubicBezTo>
                    <a:pt x="363188" y="240697"/>
                    <a:pt x="367284" y="244793"/>
                    <a:pt x="367284" y="249841"/>
                  </a:cubicBezTo>
                  <a:lnTo>
                    <a:pt x="367284" y="261080"/>
                  </a:lnTo>
                  <a:close/>
                  <a:moveTo>
                    <a:pt x="378143" y="221647"/>
                  </a:moveTo>
                  <a:lnTo>
                    <a:pt x="289465" y="221647"/>
                  </a:lnTo>
                  <a:cubicBezTo>
                    <a:pt x="288798" y="221647"/>
                    <a:pt x="243364" y="218980"/>
                    <a:pt x="192405" y="218980"/>
                  </a:cubicBezTo>
                  <a:cubicBezTo>
                    <a:pt x="166783" y="218980"/>
                    <a:pt x="139732" y="219647"/>
                    <a:pt x="116300" y="221647"/>
                  </a:cubicBezTo>
                  <a:lnTo>
                    <a:pt x="26480" y="221647"/>
                  </a:lnTo>
                  <a:lnTo>
                    <a:pt x="26480" y="180213"/>
                  </a:lnTo>
                  <a:cubicBezTo>
                    <a:pt x="39910" y="188214"/>
                    <a:pt x="57626" y="197168"/>
                    <a:pt x="69152" y="197168"/>
                  </a:cubicBezTo>
                  <a:cubicBezTo>
                    <a:pt x="70676" y="197168"/>
                    <a:pt x="72009" y="196977"/>
                    <a:pt x="73247" y="196691"/>
                  </a:cubicBezTo>
                  <a:cubicBezTo>
                    <a:pt x="78486" y="195453"/>
                    <a:pt x="82582" y="192215"/>
                    <a:pt x="84773" y="187643"/>
                  </a:cubicBezTo>
                  <a:cubicBezTo>
                    <a:pt x="85439" y="186309"/>
                    <a:pt x="85820" y="184975"/>
                    <a:pt x="86106" y="183642"/>
                  </a:cubicBezTo>
                  <a:cubicBezTo>
                    <a:pt x="125349" y="202406"/>
                    <a:pt x="163449" y="209455"/>
                    <a:pt x="198501" y="209455"/>
                  </a:cubicBezTo>
                  <a:cubicBezTo>
                    <a:pt x="246126" y="209455"/>
                    <a:pt x="288227" y="196406"/>
                    <a:pt x="320516" y="181928"/>
                  </a:cubicBezTo>
                  <a:cubicBezTo>
                    <a:pt x="320802" y="183928"/>
                    <a:pt x="321374" y="185833"/>
                    <a:pt x="322231" y="187643"/>
                  </a:cubicBezTo>
                  <a:cubicBezTo>
                    <a:pt x="324422" y="192215"/>
                    <a:pt x="328517" y="195453"/>
                    <a:pt x="333756" y="196691"/>
                  </a:cubicBezTo>
                  <a:cubicBezTo>
                    <a:pt x="334994" y="196977"/>
                    <a:pt x="336423" y="197168"/>
                    <a:pt x="337852" y="197072"/>
                  </a:cubicBezTo>
                  <a:cubicBezTo>
                    <a:pt x="348806" y="197072"/>
                    <a:pt x="365093" y="189167"/>
                    <a:pt x="378143" y="181642"/>
                  </a:cubicBezTo>
                  <a:lnTo>
                    <a:pt x="378143" y="221647"/>
                  </a:lnTo>
                  <a:close/>
                  <a:moveTo>
                    <a:pt x="374999" y="151067"/>
                  </a:moveTo>
                  <a:cubicBezTo>
                    <a:pt x="375952" y="154591"/>
                    <a:pt x="376714" y="157544"/>
                    <a:pt x="377190" y="159925"/>
                  </a:cubicBezTo>
                  <a:cubicBezTo>
                    <a:pt x="362045" y="169450"/>
                    <a:pt x="345472" y="177260"/>
                    <a:pt x="339471" y="178118"/>
                  </a:cubicBezTo>
                  <a:cubicBezTo>
                    <a:pt x="339566" y="176308"/>
                    <a:pt x="340328" y="173736"/>
                    <a:pt x="341186" y="171736"/>
                  </a:cubicBezTo>
                  <a:cubicBezTo>
                    <a:pt x="355854" y="163925"/>
                    <a:pt x="367284" y="156400"/>
                    <a:pt x="374999" y="151067"/>
                  </a:cubicBezTo>
                  <a:close/>
                  <a:moveTo>
                    <a:pt x="386144" y="81248"/>
                  </a:moveTo>
                  <a:lnTo>
                    <a:pt x="361283" y="81248"/>
                  </a:lnTo>
                  <a:lnTo>
                    <a:pt x="361283" y="76867"/>
                  </a:lnTo>
                  <a:lnTo>
                    <a:pt x="386144" y="76867"/>
                  </a:lnTo>
                  <a:lnTo>
                    <a:pt x="386144" y="81248"/>
                  </a:lnTo>
                  <a:close/>
                </a:path>
              </a:pathLst>
            </a:custGeom>
            <a:solidFill>
              <a:srgbClr val="878C9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174436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MASTER" val="DB 16_9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26."/>
  <p:tag name="BREITE" val="140"/>
  <p:tag name="HOEHE" val="140"/>
  <p:tag name="ICONSECONDCOLOR" val="1677721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26.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CALELEFT" val="7"/>
  <p:tag name="SCALERIGHT" val="14"/>
  <p:tag name="SCALETOP" val="54"/>
  <p:tag name="SCALEBOTTOM" val="48"/>
  <p:tag name="MAPID" val="098708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23.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21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21."/>
  <p:tag name="ICONSECONDCOLOR" val="1677721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123."/>
  <p:tag name="ICONSECONDCOLOR" val="1677721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987087"/>
</p:tagLst>
</file>

<file path=ppt/theme/theme1.xml><?xml version="1.0" encoding="utf-8"?>
<a:theme xmlns:a="http://schemas.openxmlformats.org/drawingml/2006/main" name="DB">
  <a:themeElements>
    <a:clrScheme name="Benutzerdefiniert 190">
      <a:dk1>
        <a:sysClr val="windowText" lastClr="000000"/>
      </a:dk1>
      <a:lt1>
        <a:sysClr val="window" lastClr="FFFFFF"/>
      </a:lt1>
      <a:dk2>
        <a:srgbClr val="000000"/>
      </a:dk2>
      <a:lt2>
        <a:srgbClr val="8D919B"/>
      </a:lt2>
      <a:accent1>
        <a:srgbClr val="D3D8DC"/>
      </a:accent1>
      <a:accent2>
        <a:srgbClr val="EC0016"/>
      </a:accent2>
      <a:accent3>
        <a:srgbClr val="EFF2F2"/>
      </a:accent3>
      <a:accent4>
        <a:srgbClr val="D3D8DC"/>
      </a:accent4>
      <a:accent5>
        <a:srgbClr val="555B63"/>
      </a:accent5>
      <a:accent6>
        <a:srgbClr val="EFF2F2"/>
      </a:accent6>
      <a:hlink>
        <a:srgbClr val="555B63"/>
      </a:hlink>
      <a:folHlink>
        <a:srgbClr val="D3D8DC"/>
      </a:folHlink>
    </a:clrScheme>
    <a:fontScheme name="Benutzerdefiniert 104">
      <a:majorFont>
        <a:latin typeface="DB Head Black"/>
        <a:ea typeface=""/>
        <a:cs typeface=""/>
      </a:majorFont>
      <a:minorFont>
        <a:latin typeface="DB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marL="180975" indent="-180975" algn="ctr">
          <a:buClr>
            <a:schemeClr val="accent2"/>
          </a:buClr>
          <a:buFont typeface="DB Sans" panose="020B0502050202020204" pitchFamily="34" charset="0"/>
          <a:buChar char="‒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180975" indent="-180975" algn="l">
          <a:buClr>
            <a:schemeClr val="accent2"/>
          </a:buClr>
          <a:buFont typeface="DB Sans" panose="020B0502050202020204" pitchFamily="34" charset="0"/>
          <a:buChar char="‒"/>
          <a:defRPr sz="1600" dirty="0" err="1" smtClean="0"/>
        </a:defPPr>
      </a:lstStyle>
    </a:txDef>
  </a:objectDefaults>
  <a:extraClrSchemeLst/>
  <a:custClrLst>
    <a:custClr name="Yellow 700">
      <a:srgbClr val="FF9B00"/>
    </a:custClr>
    <a:custClr name="Orange 700">
      <a:srgbClr val="C05E00"/>
    </a:custClr>
    <a:custClr name="Red 700">
      <a:srgbClr val="9B000E"/>
    </a:custClr>
    <a:custClr name="Burgundry 700">
      <a:srgbClr val="641E32"/>
    </a:custClr>
    <a:custClr name="Pink 700">
      <a:srgbClr val="B80065"/>
    </a:custClr>
    <a:custClr name="Violett 700">
      <a:srgbClr val="581D70"/>
    </a:custClr>
    <a:custClr name="Blue 700">
      <a:srgbClr val="0A1E6E"/>
    </a:custClr>
    <a:custClr name="Cyan 700">
      <a:srgbClr val="0087B9"/>
    </a:custClr>
    <a:custClr name="Turquiose 700">
      <a:srgbClr val="006E6B"/>
    </a:custClr>
    <a:custClr name="Green 700">
      <a:srgbClr val="165C27"/>
    </a:custClr>
    <a:custClr name="Yellow 500">
      <a:srgbClr val="FFD800"/>
    </a:custClr>
    <a:custClr name="Orange 500">
      <a:srgbClr val="F39200"/>
    </a:custClr>
    <a:custClr name="Red 500">
      <a:srgbClr val="EC0016"/>
    </a:custClr>
    <a:custClr name="Burgundry 500">
      <a:srgbClr val="A9455D"/>
    </a:custClr>
    <a:custClr name="Pink 500">
      <a:srgbClr val="E93E8F"/>
    </a:custClr>
    <a:custClr name="Violett 500">
      <a:srgbClr val="814997"/>
    </a:custClr>
    <a:custClr name="Blue 500">
      <a:srgbClr val="1455C0"/>
    </a:custClr>
    <a:custClr name="Cyan 500">
      <a:srgbClr val="309FD1"/>
    </a:custClr>
    <a:custClr name="Turquiose 500">
      <a:srgbClr val="00A099"/>
    </a:custClr>
    <a:custClr name="Green 500">
      <a:srgbClr val="408335"/>
    </a:custClr>
    <a:custClr name="Yellow 300">
      <a:srgbClr val="FFF876"/>
    </a:custClr>
    <a:custClr name="Orange 300">
      <a:srgbClr val="FACA7F"/>
    </a:custClr>
    <a:custClr name="Red 300">
      <a:srgbClr val="FA9090"/>
    </a:custClr>
    <a:custClr name="Burgundry 300">
      <a:srgbClr val="DA9AA8"/>
    </a:custClr>
    <a:custClr name="Pink 300">
      <a:srgbClr val="F4AECE"/>
    </a:custClr>
    <a:custClr name="Violett 300">
      <a:srgbClr val="C2A1C7"/>
    </a:custClr>
    <a:custClr name="Blue 300">
      <a:srgbClr val="73AEF4"/>
    </a:custClr>
    <a:custClr name="Cyan 300">
      <a:srgbClr val="84CFEF"/>
    </a:custClr>
    <a:custClr name="Turquiose 300">
      <a:srgbClr val="83CACA"/>
    </a:custClr>
    <a:custClr name="Green 300">
      <a:srgbClr val="8CBC80"/>
    </a:custClr>
    <a:custClr name="Yellow 100">
      <a:srgbClr val="FFFFDC"/>
    </a:custClr>
    <a:custClr name="Orange 100">
      <a:srgbClr val="FFF4D8"/>
    </a:custClr>
    <a:custClr name="Red 100">
      <a:srgbClr val="FEE6E6"/>
    </a:custClr>
    <a:custClr name="Burgundry 100">
      <a:srgbClr val="F4E8ED"/>
    </a:custClr>
    <a:custClr name="Pink 100">
      <a:srgbClr val="FDEEF8"/>
    </a:custClr>
    <a:custClr name="Violett 100">
      <a:srgbClr val="F4EEFA"/>
    </a:custClr>
    <a:custClr name="Blue 100">
      <a:srgbClr val="E0EFFB"/>
    </a:custClr>
    <a:custClr name="Cyan 100">
      <a:srgbClr val="E5FAFF"/>
    </a:custClr>
    <a:custClr name="Turquiose 100">
      <a:srgbClr val="E3F5F4"/>
    </a:custClr>
    <a:custClr name="Green 100">
      <a:srgbClr val="E2F3E5"/>
    </a:custClr>
    <a:custClr name="Light Green 700">
      <a:srgbClr val="44741A"/>
    </a:custClr>
    <a:custClr name="Light Green 500">
      <a:srgbClr val="78BE14"/>
    </a:custClr>
    <a:custClr name="Light Green 300">
      <a:srgbClr val="9FD45F"/>
    </a:custClr>
    <a:custClr name="Light Green 100">
      <a:srgbClr val="EBF7DD"/>
    </a:custClr>
    <a:custClr name="Warm Grey 700">
      <a:srgbClr val="4F4B41"/>
    </a:custClr>
    <a:custClr name="Warm Grey 500">
      <a:srgbClr val="858379"/>
    </a:custClr>
    <a:custClr name="Warm Grey 300">
      <a:srgbClr val="BCBBB2"/>
    </a:custClr>
    <a:custClr name="Warm Grey 100">
      <a:srgbClr val="F5F4F1"/>
    </a:custClr>
    <a:custClr name="Black">
      <a:srgbClr val="000000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DB_PPT-Template_16-9" id="{E2076701-340E-6749-A807-D545CA714BC9}" vid="{1A4EFD1A-4D0A-F343-A241-BCEE474CB926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0730c03-cedb-4746-b8b8-6261f220f105">
      <Terms xmlns="http://schemas.microsoft.com/office/infopath/2007/PartnerControls"/>
    </lcf76f155ced4ddcb4097134ff3c332f>
    <TaxCatchAll xmlns="4384f51b-e18b-4576-b5a8-3cda64ab07db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607E6FD27BE34CBF5E0EC494263DFA" ma:contentTypeVersion="16" ma:contentTypeDescription="Create a new document." ma:contentTypeScope="" ma:versionID="5bb819a74c1a3934b7e78bb34a143d9a">
  <xsd:schema xmlns:xsd="http://www.w3.org/2001/XMLSchema" xmlns:xs="http://www.w3.org/2001/XMLSchema" xmlns:p="http://schemas.microsoft.com/office/2006/metadata/properties" xmlns:ns2="40730c03-cedb-4746-b8b8-6261f220f105" xmlns:ns3="4384f51b-e18b-4576-b5a8-3cda64ab07db" targetNamespace="http://schemas.microsoft.com/office/2006/metadata/properties" ma:root="true" ma:fieldsID="436da5f6bf92cdf0f5b1a3aace72de56" ns2:_="" ns3:_="">
    <xsd:import namespace="40730c03-cedb-4746-b8b8-6261f220f105"/>
    <xsd:import namespace="4384f51b-e18b-4576-b5a8-3cda64ab07d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730c03-cedb-4746-b8b8-6261f220f1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f80f6d38-43b1-4def-ac06-3ce7426a3a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84f51b-e18b-4576-b5a8-3cda64ab07d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1d51f72-c575-477a-b330-90c6150a3baa}" ma:internalName="TaxCatchAll" ma:showField="CatchAllData" ma:web="4384f51b-e18b-4576-b5a8-3cda64ab07d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33040B-4249-47FF-886E-5D0739BBEDDA}">
  <ds:schemaRefs>
    <ds:schemaRef ds:uri="40730c03-cedb-4746-b8b8-6261f220f105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4384f51b-e18b-4576-b5a8-3cda64ab07db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4984D40-D798-4C61-9448-3F9241BDD2F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6716A7-F2E2-4905-B3C0-B32D53AF74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730c03-cedb-4746-b8b8-6261f220f105"/>
    <ds:schemaRef ds:uri="4384f51b-e18b-4576-b5a8-3cda64ab07d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1</Words>
  <Application>Microsoft Office PowerPoint</Application>
  <PresentationFormat>Breitbild</PresentationFormat>
  <Paragraphs>90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DB Head Black</vt:lpstr>
      <vt:lpstr>DB Head Light</vt:lpstr>
      <vt:lpstr>DB Sans</vt:lpstr>
      <vt:lpstr>Wingdings</vt:lpstr>
      <vt:lpstr>DB</vt:lpstr>
      <vt:lpstr>think-cell Folie</vt:lpstr>
      <vt:lpstr>Business travel by train Turn your travel time into productive time with an unbeatably low carbon footprint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schäftsreisen macht man mit der Bahn Mit dem Zug wird Reisezeit zur Nutzzeit mit unschlagbarer CO2-Bilanz.</dc:title>
  <dc:creator>Stella Ehlers</dc:creator>
  <cp:lastModifiedBy>Silke Ahrens</cp:lastModifiedBy>
  <cp:revision>8</cp:revision>
  <dcterms:created xsi:type="dcterms:W3CDTF">2022-09-02T13:09:06Z</dcterms:created>
  <dcterms:modified xsi:type="dcterms:W3CDTF">2022-09-07T12:0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607E6FD27BE34CBF5E0EC494263DFA</vt:lpwstr>
  </property>
  <property fmtid="{D5CDD505-2E9C-101B-9397-08002B2CF9AE}" pid="3" name="MediaServiceImageTags">
    <vt:lpwstr/>
  </property>
</Properties>
</file>